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8.xml" ContentType="application/vnd.openxmlformats-officedocument.theme+xml"/>
  <Override PartName="/ppt/tags/tag40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9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0.xml" ContentType="application/vnd.openxmlformats-officedocument.theme+xml"/>
  <Override PartName="/ppt/tags/tag56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1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2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3.xml" ContentType="application/vnd.openxmlformats-officedocument.theme+xml"/>
  <Override PartName="/ppt/tags/tag80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4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94" r:id="rId5"/>
    <p:sldMasterId id="2147483729" r:id="rId6"/>
    <p:sldMasterId id="2147483754" r:id="rId7"/>
    <p:sldMasterId id="2147483885" r:id="rId8"/>
    <p:sldMasterId id="2147483960" r:id="rId9"/>
    <p:sldMasterId id="2147483972" r:id="rId10"/>
    <p:sldMasterId id="2147483990" r:id="rId11"/>
    <p:sldMasterId id="2147484002" r:id="rId12"/>
    <p:sldMasterId id="2147484025" r:id="rId13"/>
    <p:sldMasterId id="2147484037" r:id="rId14"/>
    <p:sldMasterId id="2147484078" r:id="rId15"/>
    <p:sldMasterId id="2147484143" r:id="rId16"/>
    <p:sldMasterId id="2147484153" r:id="rId17"/>
  </p:sldMasterIdLst>
  <p:notesMasterIdLst>
    <p:notesMasterId r:id="rId19"/>
  </p:notesMasterIdLst>
  <p:handoutMasterIdLst>
    <p:handoutMasterId r:id="rId20"/>
  </p:handoutMasterIdLst>
  <p:sldIdLst>
    <p:sldId id="266" r:id="rId1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ayouts" id="{401BA113-DF58-41AE-80DC-457351DC736C}">
          <p14:sldIdLst>
            <p14:sldId id="26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365FF26-994D-86B3-340C-DE038D941203}" name="Nora Gras" initials="NG" userId="S::ids_nog@internationaldataspaces.org::39a33ce7-8be8-47f2-9bd3-a28fbe33526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77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D3D44BE-1F89-400B-AD77-318AAA067B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869240" y="8532440"/>
            <a:ext cx="72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057E2611-9A0A-44F3-AA79-0E40E85001E3}" type="datetimeFigureOut">
              <a:rPr lang="de-DE" sz="1000" smtClean="0"/>
              <a:t>15.02.2023</a:t>
            </a:fld>
            <a:endParaRPr lang="de-DE" sz="100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348D796-EC79-45C3-A8BC-7DF6CA20B9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76672" y="8532440"/>
            <a:ext cx="4176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endParaRPr lang="de-DE" sz="100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8A20298-1DDD-4AD7-B25E-047C4325732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949328" y="8532440"/>
            <a:ext cx="432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EA8E5865-4587-4AB2-9D86-592FE42F6B17}" type="slidenum">
              <a:rPr lang="de-DE" sz="1000" smtClean="0"/>
              <a:t>‹#›</a:t>
            </a:fld>
            <a:endParaRPr lang="de-DE" sz="100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C79C9B1-0E32-4F16-9FA4-119CA26B7B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6323" y="323528"/>
            <a:ext cx="122500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993280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709" userDrawn="1">
          <p15:clr>
            <a:srgbClr val="F26B43"/>
          </p15:clr>
        </p15:guide>
        <p15:guide id="2" pos="4021" userDrawn="1">
          <p15:clr>
            <a:srgbClr val="F26B43"/>
          </p15:clr>
        </p15:guide>
        <p15:guide id="3" pos="302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725256" y="8676480"/>
            <a:ext cx="1008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i="0">
                <a:solidFill>
                  <a:schemeClr val="tx1"/>
                </a:solidFill>
                <a:latin typeface="+mn-lt"/>
              </a:defRPr>
            </a:lvl1pPr>
          </a:lstStyle>
          <a:p>
            <a:fld id="{8FD40308-CC72-4E3B-B155-2D6492721E67}" type="datetimeFigureOut">
              <a:rPr lang="de-DE" smtClean="0"/>
              <a:pPr/>
              <a:t>09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550863" y="539552"/>
            <a:ext cx="5761037" cy="3240583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550863" y="3995936"/>
            <a:ext cx="5761037" cy="453650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</a:t>
            </a:r>
          </a:p>
          <a:p>
            <a:pPr lvl="6"/>
            <a:r>
              <a:rPr lang="de-DE"/>
              <a:t>Sieben</a:t>
            </a:r>
          </a:p>
          <a:p>
            <a:pPr lvl="7"/>
            <a:r>
              <a:rPr lang="de-DE"/>
              <a:t>Acht</a:t>
            </a:r>
          </a:p>
          <a:p>
            <a:pPr lvl="8"/>
            <a:r>
              <a:rPr lang="de-DE"/>
              <a:t>Neu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550863" y="8676480"/>
            <a:ext cx="396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i="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49280" y="8676480"/>
            <a:ext cx="36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i="0">
                <a:solidFill>
                  <a:schemeClr val="tx1"/>
                </a:solidFill>
                <a:latin typeface="+mn-lt"/>
              </a:defRPr>
            </a:lvl1pPr>
          </a:lstStyle>
          <a:p>
            <a:fld id="{EAA2E9C0-E164-4FC9-9CF7-1040E2AE50BE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39999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Aft>
        <a:spcPts val="4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80000" algn="l" defTabSz="914400" rtl="0" eaLnBrk="1" latinLnBrk="0" hangingPunct="1">
      <a:spcAft>
        <a:spcPts val="4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spcAft>
        <a:spcPts val="4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0" indent="0" algn="l" defTabSz="914400" rtl="0" eaLnBrk="1" latinLnBrk="0" hangingPunct="1">
      <a:spcAft>
        <a:spcPts val="400"/>
      </a:spcAft>
      <a:defRPr sz="1200" i="1" kern="1200">
        <a:solidFill>
          <a:schemeClr val="tx2"/>
        </a:solidFill>
        <a:latin typeface="Georgia" panose="02040502050405020303" pitchFamily="18" charset="0"/>
        <a:ea typeface="+mn-ea"/>
        <a:cs typeface="+mn-cs"/>
      </a:defRPr>
    </a:lvl5pPr>
    <a:lvl6pPr marL="0" indent="0" algn="l" defTabSz="914400" rtl="0" eaLnBrk="1" latinLnBrk="0" hangingPunct="1">
      <a:spcAft>
        <a:spcPts val="400"/>
      </a:spcAft>
      <a:defRPr sz="1200" i="1" kern="1200">
        <a:solidFill>
          <a:schemeClr val="tx2"/>
        </a:solidFill>
        <a:latin typeface="Georgia" panose="02040502050405020303" pitchFamily="18" charset="0"/>
        <a:ea typeface="+mn-ea"/>
        <a:cs typeface="+mn-cs"/>
      </a:defRPr>
    </a:lvl6pPr>
    <a:lvl7pPr marL="0" indent="0" algn="l" defTabSz="914400" rtl="0" eaLnBrk="1" latinLnBrk="0" hangingPunct="1">
      <a:spcAft>
        <a:spcPts val="400"/>
      </a:spcAft>
      <a:defRPr sz="1200" i="1" kern="1200">
        <a:solidFill>
          <a:schemeClr val="tx2"/>
        </a:solidFill>
        <a:latin typeface="Georgia" panose="02040502050405020303" pitchFamily="18" charset="0"/>
        <a:ea typeface="+mn-ea"/>
        <a:cs typeface="+mn-cs"/>
      </a:defRPr>
    </a:lvl7pPr>
    <a:lvl8pPr marL="0" indent="0" algn="l" defTabSz="914400" rtl="0" eaLnBrk="1" latinLnBrk="0" hangingPunct="1">
      <a:spcAft>
        <a:spcPts val="400"/>
      </a:spcAft>
      <a:defRPr sz="1200" i="1" kern="1200">
        <a:solidFill>
          <a:schemeClr val="tx2"/>
        </a:solidFill>
        <a:latin typeface="Georgia" panose="02040502050405020303" pitchFamily="18" charset="0"/>
        <a:ea typeface="+mn-ea"/>
        <a:cs typeface="+mn-cs"/>
      </a:defRPr>
    </a:lvl8pPr>
    <a:lvl9pPr marL="0" indent="0" algn="l" defTabSz="914400" rtl="0" eaLnBrk="1" latinLnBrk="0" hangingPunct="1">
      <a:spcAft>
        <a:spcPts val="400"/>
      </a:spcAft>
      <a:defRPr sz="1200" i="1" kern="1200">
        <a:solidFill>
          <a:schemeClr val="tx2"/>
        </a:solidFill>
        <a:latin typeface="Georgia" panose="02040502050405020303" pitchFamily="18" charset="0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347" userDrawn="1">
          <p15:clr>
            <a:srgbClr val="F26B43"/>
          </p15:clr>
        </p15:guide>
        <p15:guide id="3" orient="horz" pos="346" userDrawn="1">
          <p15:clr>
            <a:srgbClr val="F26B43"/>
          </p15:clr>
        </p15:guide>
        <p15:guide id="4" pos="3976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50863" y="539750"/>
            <a:ext cx="5761037" cy="32400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792B5-A679-47AD-A79A-691DE80CA3F3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0709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image" Target="../media/image92.svg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image" Target="../media/image91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image" Target="../media/image90.emf"/><Relationship Id="rId5" Type="http://schemas.openxmlformats.org/officeDocument/2006/relationships/tags" Target="../tags/tag46.xml"/><Relationship Id="rId10" Type="http://schemas.openxmlformats.org/officeDocument/2006/relationships/oleObject" Target="../embeddings/oleObject9.bin"/><Relationship Id="rId4" Type="http://schemas.openxmlformats.org/officeDocument/2006/relationships/tags" Target="../tags/tag45.xml"/><Relationship Id="rId9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52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image" Target="../media/image90.emf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7.png"/><Relationship Id="rId21" Type="http://schemas.openxmlformats.org/officeDocument/2006/relationships/image" Target="../media/image32.svg"/><Relationship Id="rId42" Type="http://schemas.openxmlformats.org/officeDocument/2006/relationships/image" Target="../media/image53.png"/><Relationship Id="rId47" Type="http://schemas.openxmlformats.org/officeDocument/2006/relationships/image" Target="../media/image58.svg"/><Relationship Id="rId63" Type="http://schemas.openxmlformats.org/officeDocument/2006/relationships/image" Target="../media/image74.svg"/><Relationship Id="rId68" Type="http://schemas.openxmlformats.org/officeDocument/2006/relationships/image" Target="../media/image79.png"/><Relationship Id="rId16" Type="http://schemas.openxmlformats.org/officeDocument/2006/relationships/image" Target="../media/image27.png"/><Relationship Id="rId11" Type="http://schemas.openxmlformats.org/officeDocument/2006/relationships/image" Target="../media/image22.svg"/><Relationship Id="rId24" Type="http://schemas.openxmlformats.org/officeDocument/2006/relationships/image" Target="../media/image35.png"/><Relationship Id="rId32" Type="http://schemas.openxmlformats.org/officeDocument/2006/relationships/image" Target="../media/image43.png"/><Relationship Id="rId37" Type="http://schemas.openxmlformats.org/officeDocument/2006/relationships/image" Target="../media/image48.svg"/><Relationship Id="rId40" Type="http://schemas.openxmlformats.org/officeDocument/2006/relationships/image" Target="../media/image51.png"/><Relationship Id="rId45" Type="http://schemas.openxmlformats.org/officeDocument/2006/relationships/image" Target="../media/image56.svg"/><Relationship Id="rId53" Type="http://schemas.openxmlformats.org/officeDocument/2006/relationships/image" Target="../media/image64.svg"/><Relationship Id="rId58" Type="http://schemas.openxmlformats.org/officeDocument/2006/relationships/image" Target="../media/image69.png"/><Relationship Id="rId66" Type="http://schemas.openxmlformats.org/officeDocument/2006/relationships/image" Target="../media/image77.png"/><Relationship Id="rId74" Type="http://schemas.openxmlformats.org/officeDocument/2006/relationships/image" Target="../media/image85.png"/><Relationship Id="rId5" Type="http://schemas.openxmlformats.org/officeDocument/2006/relationships/image" Target="../media/image16.svg"/><Relationship Id="rId61" Type="http://schemas.openxmlformats.org/officeDocument/2006/relationships/image" Target="../media/image72.svg"/><Relationship Id="rId19" Type="http://schemas.openxmlformats.org/officeDocument/2006/relationships/image" Target="../media/image30.svg"/><Relationship Id="rId14" Type="http://schemas.openxmlformats.org/officeDocument/2006/relationships/image" Target="../media/image25.png"/><Relationship Id="rId22" Type="http://schemas.openxmlformats.org/officeDocument/2006/relationships/image" Target="../media/image33.png"/><Relationship Id="rId27" Type="http://schemas.openxmlformats.org/officeDocument/2006/relationships/image" Target="../media/image38.svg"/><Relationship Id="rId30" Type="http://schemas.openxmlformats.org/officeDocument/2006/relationships/image" Target="../media/image41.png"/><Relationship Id="rId35" Type="http://schemas.openxmlformats.org/officeDocument/2006/relationships/image" Target="../media/image46.svg"/><Relationship Id="rId43" Type="http://schemas.openxmlformats.org/officeDocument/2006/relationships/image" Target="../media/image54.svg"/><Relationship Id="rId48" Type="http://schemas.openxmlformats.org/officeDocument/2006/relationships/image" Target="../media/image59.png"/><Relationship Id="rId56" Type="http://schemas.openxmlformats.org/officeDocument/2006/relationships/image" Target="../media/image67.png"/><Relationship Id="rId64" Type="http://schemas.openxmlformats.org/officeDocument/2006/relationships/image" Target="../media/image75.png"/><Relationship Id="rId69" Type="http://schemas.openxmlformats.org/officeDocument/2006/relationships/image" Target="../media/image80.svg"/><Relationship Id="rId77" Type="http://schemas.openxmlformats.org/officeDocument/2006/relationships/image" Target="../media/image88.svg"/><Relationship Id="rId8" Type="http://schemas.openxmlformats.org/officeDocument/2006/relationships/image" Target="../media/image19.png"/><Relationship Id="rId51" Type="http://schemas.openxmlformats.org/officeDocument/2006/relationships/image" Target="../media/image62.svg"/><Relationship Id="rId72" Type="http://schemas.openxmlformats.org/officeDocument/2006/relationships/image" Target="../media/image83.png"/><Relationship Id="rId3" Type="http://schemas.openxmlformats.org/officeDocument/2006/relationships/image" Target="../media/image14.svg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5" Type="http://schemas.openxmlformats.org/officeDocument/2006/relationships/image" Target="../media/image36.svg"/><Relationship Id="rId33" Type="http://schemas.openxmlformats.org/officeDocument/2006/relationships/image" Target="../media/image44.svg"/><Relationship Id="rId38" Type="http://schemas.openxmlformats.org/officeDocument/2006/relationships/image" Target="../media/image49.png"/><Relationship Id="rId46" Type="http://schemas.openxmlformats.org/officeDocument/2006/relationships/image" Target="../media/image57.png"/><Relationship Id="rId59" Type="http://schemas.openxmlformats.org/officeDocument/2006/relationships/image" Target="../media/image70.svg"/><Relationship Id="rId67" Type="http://schemas.openxmlformats.org/officeDocument/2006/relationships/image" Target="../media/image78.svg"/><Relationship Id="rId20" Type="http://schemas.openxmlformats.org/officeDocument/2006/relationships/image" Target="../media/image31.png"/><Relationship Id="rId41" Type="http://schemas.openxmlformats.org/officeDocument/2006/relationships/image" Target="../media/image52.svg"/><Relationship Id="rId54" Type="http://schemas.openxmlformats.org/officeDocument/2006/relationships/image" Target="../media/image65.png"/><Relationship Id="rId62" Type="http://schemas.openxmlformats.org/officeDocument/2006/relationships/image" Target="../media/image73.png"/><Relationship Id="rId70" Type="http://schemas.openxmlformats.org/officeDocument/2006/relationships/image" Target="../media/image81.png"/><Relationship Id="rId75" Type="http://schemas.openxmlformats.org/officeDocument/2006/relationships/image" Target="../media/image86.sv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7.png"/><Relationship Id="rId15" Type="http://schemas.openxmlformats.org/officeDocument/2006/relationships/image" Target="../media/image26.svg"/><Relationship Id="rId23" Type="http://schemas.openxmlformats.org/officeDocument/2006/relationships/image" Target="../media/image34.svg"/><Relationship Id="rId28" Type="http://schemas.openxmlformats.org/officeDocument/2006/relationships/image" Target="../media/image39.png"/><Relationship Id="rId36" Type="http://schemas.openxmlformats.org/officeDocument/2006/relationships/image" Target="../media/image47.png"/><Relationship Id="rId49" Type="http://schemas.openxmlformats.org/officeDocument/2006/relationships/image" Target="../media/image60.svg"/><Relationship Id="rId57" Type="http://schemas.openxmlformats.org/officeDocument/2006/relationships/image" Target="../media/image68.svg"/><Relationship Id="rId10" Type="http://schemas.openxmlformats.org/officeDocument/2006/relationships/image" Target="../media/image21.png"/><Relationship Id="rId31" Type="http://schemas.openxmlformats.org/officeDocument/2006/relationships/image" Target="../media/image42.svg"/><Relationship Id="rId44" Type="http://schemas.openxmlformats.org/officeDocument/2006/relationships/image" Target="../media/image55.png"/><Relationship Id="rId52" Type="http://schemas.openxmlformats.org/officeDocument/2006/relationships/image" Target="../media/image63.png"/><Relationship Id="rId60" Type="http://schemas.openxmlformats.org/officeDocument/2006/relationships/image" Target="../media/image71.png"/><Relationship Id="rId65" Type="http://schemas.openxmlformats.org/officeDocument/2006/relationships/image" Target="../media/image76.svg"/><Relationship Id="rId73" Type="http://schemas.openxmlformats.org/officeDocument/2006/relationships/image" Target="../media/image84.svg"/><Relationship Id="rId4" Type="http://schemas.openxmlformats.org/officeDocument/2006/relationships/image" Target="../media/image15.png"/><Relationship Id="rId9" Type="http://schemas.openxmlformats.org/officeDocument/2006/relationships/image" Target="../media/image20.svg"/><Relationship Id="rId13" Type="http://schemas.openxmlformats.org/officeDocument/2006/relationships/image" Target="../media/image24.svg"/><Relationship Id="rId18" Type="http://schemas.openxmlformats.org/officeDocument/2006/relationships/image" Target="../media/image29.png"/><Relationship Id="rId39" Type="http://schemas.openxmlformats.org/officeDocument/2006/relationships/image" Target="../media/image50.svg"/><Relationship Id="rId34" Type="http://schemas.openxmlformats.org/officeDocument/2006/relationships/image" Target="../media/image45.png"/><Relationship Id="rId50" Type="http://schemas.openxmlformats.org/officeDocument/2006/relationships/image" Target="../media/image61.png"/><Relationship Id="rId55" Type="http://schemas.openxmlformats.org/officeDocument/2006/relationships/image" Target="../media/image66.svg"/><Relationship Id="rId76" Type="http://schemas.openxmlformats.org/officeDocument/2006/relationships/image" Target="../media/image87.png"/><Relationship Id="rId7" Type="http://schemas.openxmlformats.org/officeDocument/2006/relationships/image" Target="../media/image18.svg"/><Relationship Id="rId71" Type="http://schemas.openxmlformats.org/officeDocument/2006/relationships/image" Target="../media/image82.svg"/><Relationship Id="rId2" Type="http://schemas.openxmlformats.org/officeDocument/2006/relationships/image" Target="../media/image13.png"/><Relationship Id="rId29" Type="http://schemas.openxmlformats.org/officeDocument/2006/relationships/image" Target="../media/image40.sv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7.png"/><Relationship Id="rId21" Type="http://schemas.openxmlformats.org/officeDocument/2006/relationships/image" Target="../media/image32.svg"/><Relationship Id="rId42" Type="http://schemas.openxmlformats.org/officeDocument/2006/relationships/image" Target="../media/image53.png"/><Relationship Id="rId47" Type="http://schemas.openxmlformats.org/officeDocument/2006/relationships/image" Target="../media/image58.svg"/><Relationship Id="rId63" Type="http://schemas.openxmlformats.org/officeDocument/2006/relationships/image" Target="../media/image74.svg"/><Relationship Id="rId68" Type="http://schemas.openxmlformats.org/officeDocument/2006/relationships/image" Target="../media/image79.png"/><Relationship Id="rId16" Type="http://schemas.openxmlformats.org/officeDocument/2006/relationships/image" Target="../media/image27.png"/><Relationship Id="rId11" Type="http://schemas.openxmlformats.org/officeDocument/2006/relationships/image" Target="../media/image22.svg"/><Relationship Id="rId24" Type="http://schemas.openxmlformats.org/officeDocument/2006/relationships/image" Target="../media/image35.png"/><Relationship Id="rId32" Type="http://schemas.openxmlformats.org/officeDocument/2006/relationships/image" Target="../media/image43.png"/><Relationship Id="rId37" Type="http://schemas.openxmlformats.org/officeDocument/2006/relationships/image" Target="../media/image48.svg"/><Relationship Id="rId40" Type="http://schemas.openxmlformats.org/officeDocument/2006/relationships/image" Target="../media/image51.png"/><Relationship Id="rId45" Type="http://schemas.openxmlformats.org/officeDocument/2006/relationships/image" Target="../media/image56.svg"/><Relationship Id="rId53" Type="http://schemas.openxmlformats.org/officeDocument/2006/relationships/image" Target="../media/image64.svg"/><Relationship Id="rId58" Type="http://schemas.openxmlformats.org/officeDocument/2006/relationships/image" Target="../media/image69.png"/><Relationship Id="rId66" Type="http://schemas.openxmlformats.org/officeDocument/2006/relationships/image" Target="../media/image77.png"/><Relationship Id="rId74" Type="http://schemas.openxmlformats.org/officeDocument/2006/relationships/image" Target="../media/image85.png"/><Relationship Id="rId5" Type="http://schemas.openxmlformats.org/officeDocument/2006/relationships/image" Target="../media/image16.svg"/><Relationship Id="rId61" Type="http://schemas.openxmlformats.org/officeDocument/2006/relationships/image" Target="../media/image72.svg"/><Relationship Id="rId19" Type="http://schemas.openxmlformats.org/officeDocument/2006/relationships/image" Target="../media/image30.svg"/><Relationship Id="rId14" Type="http://schemas.openxmlformats.org/officeDocument/2006/relationships/image" Target="../media/image25.png"/><Relationship Id="rId22" Type="http://schemas.openxmlformats.org/officeDocument/2006/relationships/image" Target="../media/image33.png"/><Relationship Id="rId27" Type="http://schemas.openxmlformats.org/officeDocument/2006/relationships/image" Target="../media/image38.svg"/><Relationship Id="rId30" Type="http://schemas.openxmlformats.org/officeDocument/2006/relationships/image" Target="../media/image41.png"/><Relationship Id="rId35" Type="http://schemas.openxmlformats.org/officeDocument/2006/relationships/image" Target="../media/image46.svg"/><Relationship Id="rId43" Type="http://schemas.openxmlformats.org/officeDocument/2006/relationships/image" Target="../media/image54.svg"/><Relationship Id="rId48" Type="http://schemas.openxmlformats.org/officeDocument/2006/relationships/image" Target="../media/image59.png"/><Relationship Id="rId56" Type="http://schemas.openxmlformats.org/officeDocument/2006/relationships/image" Target="../media/image67.png"/><Relationship Id="rId64" Type="http://schemas.openxmlformats.org/officeDocument/2006/relationships/image" Target="../media/image75.png"/><Relationship Id="rId69" Type="http://schemas.openxmlformats.org/officeDocument/2006/relationships/image" Target="../media/image80.svg"/><Relationship Id="rId77" Type="http://schemas.openxmlformats.org/officeDocument/2006/relationships/image" Target="../media/image88.svg"/><Relationship Id="rId8" Type="http://schemas.openxmlformats.org/officeDocument/2006/relationships/image" Target="../media/image19.png"/><Relationship Id="rId51" Type="http://schemas.openxmlformats.org/officeDocument/2006/relationships/image" Target="../media/image62.svg"/><Relationship Id="rId72" Type="http://schemas.openxmlformats.org/officeDocument/2006/relationships/image" Target="../media/image83.png"/><Relationship Id="rId3" Type="http://schemas.openxmlformats.org/officeDocument/2006/relationships/image" Target="../media/image14.svg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5" Type="http://schemas.openxmlformats.org/officeDocument/2006/relationships/image" Target="../media/image36.svg"/><Relationship Id="rId33" Type="http://schemas.openxmlformats.org/officeDocument/2006/relationships/image" Target="../media/image44.svg"/><Relationship Id="rId38" Type="http://schemas.openxmlformats.org/officeDocument/2006/relationships/image" Target="../media/image49.png"/><Relationship Id="rId46" Type="http://schemas.openxmlformats.org/officeDocument/2006/relationships/image" Target="../media/image57.png"/><Relationship Id="rId59" Type="http://schemas.openxmlformats.org/officeDocument/2006/relationships/image" Target="../media/image70.svg"/><Relationship Id="rId67" Type="http://schemas.openxmlformats.org/officeDocument/2006/relationships/image" Target="../media/image78.svg"/><Relationship Id="rId20" Type="http://schemas.openxmlformats.org/officeDocument/2006/relationships/image" Target="../media/image31.png"/><Relationship Id="rId41" Type="http://schemas.openxmlformats.org/officeDocument/2006/relationships/image" Target="../media/image52.svg"/><Relationship Id="rId54" Type="http://schemas.openxmlformats.org/officeDocument/2006/relationships/image" Target="../media/image65.png"/><Relationship Id="rId62" Type="http://schemas.openxmlformats.org/officeDocument/2006/relationships/image" Target="../media/image73.png"/><Relationship Id="rId70" Type="http://schemas.openxmlformats.org/officeDocument/2006/relationships/image" Target="../media/image81.png"/><Relationship Id="rId75" Type="http://schemas.openxmlformats.org/officeDocument/2006/relationships/image" Target="../media/image86.sv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7.png"/><Relationship Id="rId15" Type="http://schemas.openxmlformats.org/officeDocument/2006/relationships/image" Target="../media/image26.svg"/><Relationship Id="rId23" Type="http://schemas.openxmlformats.org/officeDocument/2006/relationships/image" Target="../media/image34.svg"/><Relationship Id="rId28" Type="http://schemas.openxmlformats.org/officeDocument/2006/relationships/image" Target="../media/image39.png"/><Relationship Id="rId36" Type="http://schemas.openxmlformats.org/officeDocument/2006/relationships/image" Target="../media/image47.png"/><Relationship Id="rId49" Type="http://schemas.openxmlformats.org/officeDocument/2006/relationships/image" Target="../media/image60.svg"/><Relationship Id="rId57" Type="http://schemas.openxmlformats.org/officeDocument/2006/relationships/image" Target="../media/image68.svg"/><Relationship Id="rId10" Type="http://schemas.openxmlformats.org/officeDocument/2006/relationships/image" Target="../media/image21.png"/><Relationship Id="rId31" Type="http://schemas.openxmlformats.org/officeDocument/2006/relationships/image" Target="../media/image42.svg"/><Relationship Id="rId44" Type="http://schemas.openxmlformats.org/officeDocument/2006/relationships/image" Target="../media/image55.png"/><Relationship Id="rId52" Type="http://schemas.openxmlformats.org/officeDocument/2006/relationships/image" Target="../media/image63.png"/><Relationship Id="rId60" Type="http://schemas.openxmlformats.org/officeDocument/2006/relationships/image" Target="../media/image71.png"/><Relationship Id="rId65" Type="http://schemas.openxmlformats.org/officeDocument/2006/relationships/image" Target="../media/image76.svg"/><Relationship Id="rId73" Type="http://schemas.openxmlformats.org/officeDocument/2006/relationships/image" Target="../media/image84.svg"/><Relationship Id="rId4" Type="http://schemas.openxmlformats.org/officeDocument/2006/relationships/image" Target="../media/image15.png"/><Relationship Id="rId9" Type="http://schemas.openxmlformats.org/officeDocument/2006/relationships/image" Target="../media/image20.svg"/><Relationship Id="rId13" Type="http://schemas.openxmlformats.org/officeDocument/2006/relationships/image" Target="../media/image24.svg"/><Relationship Id="rId18" Type="http://schemas.openxmlformats.org/officeDocument/2006/relationships/image" Target="../media/image29.png"/><Relationship Id="rId39" Type="http://schemas.openxmlformats.org/officeDocument/2006/relationships/image" Target="../media/image50.svg"/><Relationship Id="rId34" Type="http://schemas.openxmlformats.org/officeDocument/2006/relationships/image" Target="../media/image45.png"/><Relationship Id="rId50" Type="http://schemas.openxmlformats.org/officeDocument/2006/relationships/image" Target="../media/image61.png"/><Relationship Id="rId55" Type="http://schemas.openxmlformats.org/officeDocument/2006/relationships/image" Target="../media/image66.svg"/><Relationship Id="rId76" Type="http://schemas.openxmlformats.org/officeDocument/2006/relationships/image" Target="../media/image87.png"/><Relationship Id="rId7" Type="http://schemas.openxmlformats.org/officeDocument/2006/relationships/image" Target="../media/image18.svg"/><Relationship Id="rId71" Type="http://schemas.openxmlformats.org/officeDocument/2006/relationships/image" Target="../media/image82.svg"/><Relationship Id="rId2" Type="http://schemas.openxmlformats.org/officeDocument/2006/relationships/image" Target="../media/image13.png"/><Relationship Id="rId29" Type="http://schemas.openxmlformats.org/officeDocument/2006/relationships/image" Target="../media/image40.svg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7.png"/><Relationship Id="rId21" Type="http://schemas.openxmlformats.org/officeDocument/2006/relationships/image" Target="../media/image32.svg"/><Relationship Id="rId42" Type="http://schemas.openxmlformats.org/officeDocument/2006/relationships/image" Target="../media/image53.png"/><Relationship Id="rId47" Type="http://schemas.openxmlformats.org/officeDocument/2006/relationships/image" Target="../media/image58.svg"/><Relationship Id="rId63" Type="http://schemas.openxmlformats.org/officeDocument/2006/relationships/image" Target="../media/image74.svg"/><Relationship Id="rId68" Type="http://schemas.openxmlformats.org/officeDocument/2006/relationships/image" Target="../media/image79.png"/><Relationship Id="rId16" Type="http://schemas.openxmlformats.org/officeDocument/2006/relationships/image" Target="../media/image27.png"/><Relationship Id="rId11" Type="http://schemas.openxmlformats.org/officeDocument/2006/relationships/image" Target="../media/image22.svg"/><Relationship Id="rId24" Type="http://schemas.openxmlformats.org/officeDocument/2006/relationships/image" Target="../media/image35.png"/><Relationship Id="rId32" Type="http://schemas.openxmlformats.org/officeDocument/2006/relationships/image" Target="../media/image43.png"/><Relationship Id="rId37" Type="http://schemas.openxmlformats.org/officeDocument/2006/relationships/image" Target="../media/image48.svg"/><Relationship Id="rId40" Type="http://schemas.openxmlformats.org/officeDocument/2006/relationships/image" Target="../media/image51.png"/><Relationship Id="rId45" Type="http://schemas.openxmlformats.org/officeDocument/2006/relationships/image" Target="../media/image56.svg"/><Relationship Id="rId53" Type="http://schemas.openxmlformats.org/officeDocument/2006/relationships/image" Target="../media/image64.svg"/><Relationship Id="rId58" Type="http://schemas.openxmlformats.org/officeDocument/2006/relationships/image" Target="../media/image69.png"/><Relationship Id="rId66" Type="http://schemas.openxmlformats.org/officeDocument/2006/relationships/image" Target="../media/image77.png"/><Relationship Id="rId74" Type="http://schemas.openxmlformats.org/officeDocument/2006/relationships/image" Target="../media/image85.png"/><Relationship Id="rId5" Type="http://schemas.openxmlformats.org/officeDocument/2006/relationships/image" Target="../media/image16.svg"/><Relationship Id="rId61" Type="http://schemas.openxmlformats.org/officeDocument/2006/relationships/image" Target="../media/image72.svg"/><Relationship Id="rId19" Type="http://schemas.openxmlformats.org/officeDocument/2006/relationships/image" Target="../media/image30.svg"/><Relationship Id="rId14" Type="http://schemas.openxmlformats.org/officeDocument/2006/relationships/image" Target="../media/image25.png"/><Relationship Id="rId22" Type="http://schemas.openxmlformats.org/officeDocument/2006/relationships/image" Target="../media/image33.png"/><Relationship Id="rId27" Type="http://schemas.openxmlformats.org/officeDocument/2006/relationships/image" Target="../media/image38.svg"/><Relationship Id="rId30" Type="http://schemas.openxmlformats.org/officeDocument/2006/relationships/image" Target="../media/image41.png"/><Relationship Id="rId35" Type="http://schemas.openxmlformats.org/officeDocument/2006/relationships/image" Target="../media/image46.svg"/><Relationship Id="rId43" Type="http://schemas.openxmlformats.org/officeDocument/2006/relationships/image" Target="../media/image54.svg"/><Relationship Id="rId48" Type="http://schemas.openxmlformats.org/officeDocument/2006/relationships/image" Target="../media/image59.png"/><Relationship Id="rId56" Type="http://schemas.openxmlformats.org/officeDocument/2006/relationships/image" Target="../media/image67.png"/><Relationship Id="rId64" Type="http://schemas.openxmlformats.org/officeDocument/2006/relationships/image" Target="../media/image75.png"/><Relationship Id="rId69" Type="http://schemas.openxmlformats.org/officeDocument/2006/relationships/image" Target="../media/image80.svg"/><Relationship Id="rId77" Type="http://schemas.openxmlformats.org/officeDocument/2006/relationships/image" Target="../media/image88.svg"/><Relationship Id="rId8" Type="http://schemas.openxmlformats.org/officeDocument/2006/relationships/image" Target="../media/image19.png"/><Relationship Id="rId51" Type="http://schemas.openxmlformats.org/officeDocument/2006/relationships/image" Target="../media/image62.svg"/><Relationship Id="rId72" Type="http://schemas.openxmlformats.org/officeDocument/2006/relationships/image" Target="../media/image83.png"/><Relationship Id="rId3" Type="http://schemas.openxmlformats.org/officeDocument/2006/relationships/image" Target="../media/image14.svg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5" Type="http://schemas.openxmlformats.org/officeDocument/2006/relationships/image" Target="../media/image36.svg"/><Relationship Id="rId33" Type="http://schemas.openxmlformats.org/officeDocument/2006/relationships/image" Target="../media/image44.svg"/><Relationship Id="rId38" Type="http://schemas.openxmlformats.org/officeDocument/2006/relationships/image" Target="../media/image49.png"/><Relationship Id="rId46" Type="http://schemas.openxmlformats.org/officeDocument/2006/relationships/image" Target="../media/image57.png"/><Relationship Id="rId59" Type="http://schemas.openxmlformats.org/officeDocument/2006/relationships/image" Target="../media/image70.svg"/><Relationship Id="rId67" Type="http://schemas.openxmlformats.org/officeDocument/2006/relationships/image" Target="../media/image78.svg"/><Relationship Id="rId20" Type="http://schemas.openxmlformats.org/officeDocument/2006/relationships/image" Target="../media/image31.png"/><Relationship Id="rId41" Type="http://schemas.openxmlformats.org/officeDocument/2006/relationships/image" Target="../media/image52.svg"/><Relationship Id="rId54" Type="http://schemas.openxmlformats.org/officeDocument/2006/relationships/image" Target="../media/image65.png"/><Relationship Id="rId62" Type="http://schemas.openxmlformats.org/officeDocument/2006/relationships/image" Target="../media/image73.png"/><Relationship Id="rId70" Type="http://schemas.openxmlformats.org/officeDocument/2006/relationships/image" Target="../media/image81.png"/><Relationship Id="rId75" Type="http://schemas.openxmlformats.org/officeDocument/2006/relationships/image" Target="../media/image86.sv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7.png"/><Relationship Id="rId15" Type="http://schemas.openxmlformats.org/officeDocument/2006/relationships/image" Target="../media/image26.svg"/><Relationship Id="rId23" Type="http://schemas.openxmlformats.org/officeDocument/2006/relationships/image" Target="../media/image34.svg"/><Relationship Id="rId28" Type="http://schemas.openxmlformats.org/officeDocument/2006/relationships/image" Target="../media/image39.png"/><Relationship Id="rId36" Type="http://schemas.openxmlformats.org/officeDocument/2006/relationships/image" Target="../media/image47.png"/><Relationship Id="rId49" Type="http://schemas.openxmlformats.org/officeDocument/2006/relationships/image" Target="../media/image60.svg"/><Relationship Id="rId57" Type="http://schemas.openxmlformats.org/officeDocument/2006/relationships/image" Target="../media/image68.svg"/><Relationship Id="rId10" Type="http://schemas.openxmlformats.org/officeDocument/2006/relationships/image" Target="../media/image21.png"/><Relationship Id="rId31" Type="http://schemas.openxmlformats.org/officeDocument/2006/relationships/image" Target="../media/image42.svg"/><Relationship Id="rId44" Type="http://schemas.openxmlformats.org/officeDocument/2006/relationships/image" Target="../media/image55.png"/><Relationship Id="rId52" Type="http://schemas.openxmlformats.org/officeDocument/2006/relationships/image" Target="../media/image63.png"/><Relationship Id="rId60" Type="http://schemas.openxmlformats.org/officeDocument/2006/relationships/image" Target="../media/image71.png"/><Relationship Id="rId65" Type="http://schemas.openxmlformats.org/officeDocument/2006/relationships/image" Target="../media/image76.svg"/><Relationship Id="rId73" Type="http://schemas.openxmlformats.org/officeDocument/2006/relationships/image" Target="../media/image84.svg"/><Relationship Id="rId4" Type="http://schemas.openxmlformats.org/officeDocument/2006/relationships/image" Target="../media/image15.png"/><Relationship Id="rId9" Type="http://schemas.openxmlformats.org/officeDocument/2006/relationships/image" Target="../media/image20.svg"/><Relationship Id="rId13" Type="http://schemas.openxmlformats.org/officeDocument/2006/relationships/image" Target="../media/image24.svg"/><Relationship Id="rId18" Type="http://schemas.openxmlformats.org/officeDocument/2006/relationships/image" Target="../media/image29.png"/><Relationship Id="rId39" Type="http://schemas.openxmlformats.org/officeDocument/2006/relationships/image" Target="../media/image50.svg"/><Relationship Id="rId34" Type="http://schemas.openxmlformats.org/officeDocument/2006/relationships/image" Target="../media/image45.png"/><Relationship Id="rId50" Type="http://schemas.openxmlformats.org/officeDocument/2006/relationships/image" Target="../media/image61.png"/><Relationship Id="rId55" Type="http://schemas.openxmlformats.org/officeDocument/2006/relationships/image" Target="../media/image66.svg"/><Relationship Id="rId76" Type="http://schemas.openxmlformats.org/officeDocument/2006/relationships/image" Target="../media/image87.png"/><Relationship Id="rId7" Type="http://schemas.openxmlformats.org/officeDocument/2006/relationships/image" Target="../media/image18.svg"/><Relationship Id="rId71" Type="http://schemas.openxmlformats.org/officeDocument/2006/relationships/image" Target="../media/image82.svg"/><Relationship Id="rId2" Type="http://schemas.openxmlformats.org/officeDocument/2006/relationships/image" Target="../media/image13.png"/><Relationship Id="rId29" Type="http://schemas.openxmlformats.org/officeDocument/2006/relationships/image" Target="../media/image40.svg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image" Target="../media/image92.svg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image" Target="../media/image91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image" Target="../media/image90.emf"/><Relationship Id="rId5" Type="http://schemas.openxmlformats.org/officeDocument/2006/relationships/tags" Target="../tags/tag61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60.xml"/><Relationship Id="rId9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image" Target="../media/image92.svg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91.pn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image" Target="../media/image90.emf"/><Relationship Id="rId5" Type="http://schemas.openxmlformats.org/officeDocument/2006/relationships/tags" Target="../tags/tag70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69.xml"/><Relationship Id="rId9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76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5" Type="http://schemas.openxmlformats.org/officeDocument/2006/relationships/tags" Target="../tags/tag78.xml"/><Relationship Id="rId4" Type="http://schemas.openxmlformats.org/officeDocument/2006/relationships/tags" Target="../tags/tag77.xml"/><Relationship Id="rId9" Type="http://schemas.openxmlformats.org/officeDocument/2006/relationships/image" Target="../media/image90.emf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7.png"/><Relationship Id="rId21" Type="http://schemas.openxmlformats.org/officeDocument/2006/relationships/image" Target="../media/image32.svg"/><Relationship Id="rId42" Type="http://schemas.openxmlformats.org/officeDocument/2006/relationships/image" Target="../media/image53.png"/><Relationship Id="rId47" Type="http://schemas.openxmlformats.org/officeDocument/2006/relationships/image" Target="../media/image58.svg"/><Relationship Id="rId63" Type="http://schemas.openxmlformats.org/officeDocument/2006/relationships/image" Target="../media/image74.svg"/><Relationship Id="rId68" Type="http://schemas.openxmlformats.org/officeDocument/2006/relationships/image" Target="../media/image79.png"/><Relationship Id="rId16" Type="http://schemas.openxmlformats.org/officeDocument/2006/relationships/image" Target="../media/image27.png"/><Relationship Id="rId11" Type="http://schemas.openxmlformats.org/officeDocument/2006/relationships/image" Target="../media/image22.svg"/><Relationship Id="rId24" Type="http://schemas.openxmlformats.org/officeDocument/2006/relationships/image" Target="../media/image35.png"/><Relationship Id="rId32" Type="http://schemas.openxmlformats.org/officeDocument/2006/relationships/image" Target="../media/image43.png"/><Relationship Id="rId37" Type="http://schemas.openxmlformats.org/officeDocument/2006/relationships/image" Target="../media/image48.svg"/><Relationship Id="rId40" Type="http://schemas.openxmlformats.org/officeDocument/2006/relationships/image" Target="../media/image51.png"/><Relationship Id="rId45" Type="http://schemas.openxmlformats.org/officeDocument/2006/relationships/image" Target="../media/image56.svg"/><Relationship Id="rId53" Type="http://schemas.openxmlformats.org/officeDocument/2006/relationships/image" Target="../media/image64.svg"/><Relationship Id="rId58" Type="http://schemas.openxmlformats.org/officeDocument/2006/relationships/image" Target="../media/image69.png"/><Relationship Id="rId66" Type="http://schemas.openxmlformats.org/officeDocument/2006/relationships/image" Target="../media/image77.png"/><Relationship Id="rId74" Type="http://schemas.openxmlformats.org/officeDocument/2006/relationships/image" Target="../media/image85.png"/><Relationship Id="rId5" Type="http://schemas.openxmlformats.org/officeDocument/2006/relationships/image" Target="../media/image16.svg"/><Relationship Id="rId61" Type="http://schemas.openxmlformats.org/officeDocument/2006/relationships/image" Target="../media/image72.svg"/><Relationship Id="rId19" Type="http://schemas.openxmlformats.org/officeDocument/2006/relationships/image" Target="../media/image30.svg"/><Relationship Id="rId14" Type="http://schemas.openxmlformats.org/officeDocument/2006/relationships/image" Target="../media/image25.png"/><Relationship Id="rId22" Type="http://schemas.openxmlformats.org/officeDocument/2006/relationships/image" Target="../media/image33.png"/><Relationship Id="rId27" Type="http://schemas.openxmlformats.org/officeDocument/2006/relationships/image" Target="../media/image38.svg"/><Relationship Id="rId30" Type="http://schemas.openxmlformats.org/officeDocument/2006/relationships/image" Target="../media/image41.png"/><Relationship Id="rId35" Type="http://schemas.openxmlformats.org/officeDocument/2006/relationships/image" Target="../media/image46.svg"/><Relationship Id="rId43" Type="http://schemas.openxmlformats.org/officeDocument/2006/relationships/image" Target="../media/image54.svg"/><Relationship Id="rId48" Type="http://schemas.openxmlformats.org/officeDocument/2006/relationships/image" Target="../media/image59.png"/><Relationship Id="rId56" Type="http://schemas.openxmlformats.org/officeDocument/2006/relationships/image" Target="../media/image67.png"/><Relationship Id="rId64" Type="http://schemas.openxmlformats.org/officeDocument/2006/relationships/image" Target="../media/image75.png"/><Relationship Id="rId69" Type="http://schemas.openxmlformats.org/officeDocument/2006/relationships/image" Target="../media/image80.svg"/><Relationship Id="rId77" Type="http://schemas.openxmlformats.org/officeDocument/2006/relationships/image" Target="../media/image88.svg"/><Relationship Id="rId8" Type="http://schemas.openxmlformats.org/officeDocument/2006/relationships/image" Target="../media/image19.png"/><Relationship Id="rId51" Type="http://schemas.openxmlformats.org/officeDocument/2006/relationships/image" Target="../media/image62.svg"/><Relationship Id="rId72" Type="http://schemas.openxmlformats.org/officeDocument/2006/relationships/image" Target="../media/image83.png"/><Relationship Id="rId3" Type="http://schemas.openxmlformats.org/officeDocument/2006/relationships/image" Target="../media/image14.svg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5" Type="http://schemas.openxmlformats.org/officeDocument/2006/relationships/image" Target="../media/image36.svg"/><Relationship Id="rId33" Type="http://schemas.openxmlformats.org/officeDocument/2006/relationships/image" Target="../media/image44.svg"/><Relationship Id="rId38" Type="http://schemas.openxmlformats.org/officeDocument/2006/relationships/image" Target="../media/image49.png"/><Relationship Id="rId46" Type="http://schemas.openxmlformats.org/officeDocument/2006/relationships/image" Target="../media/image57.png"/><Relationship Id="rId59" Type="http://schemas.openxmlformats.org/officeDocument/2006/relationships/image" Target="../media/image70.svg"/><Relationship Id="rId67" Type="http://schemas.openxmlformats.org/officeDocument/2006/relationships/image" Target="../media/image78.svg"/><Relationship Id="rId20" Type="http://schemas.openxmlformats.org/officeDocument/2006/relationships/image" Target="../media/image31.png"/><Relationship Id="rId41" Type="http://schemas.openxmlformats.org/officeDocument/2006/relationships/image" Target="../media/image52.svg"/><Relationship Id="rId54" Type="http://schemas.openxmlformats.org/officeDocument/2006/relationships/image" Target="../media/image65.png"/><Relationship Id="rId62" Type="http://schemas.openxmlformats.org/officeDocument/2006/relationships/image" Target="../media/image73.png"/><Relationship Id="rId70" Type="http://schemas.openxmlformats.org/officeDocument/2006/relationships/image" Target="../media/image81.png"/><Relationship Id="rId75" Type="http://schemas.openxmlformats.org/officeDocument/2006/relationships/image" Target="../media/image86.sv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17.png"/><Relationship Id="rId15" Type="http://schemas.openxmlformats.org/officeDocument/2006/relationships/image" Target="../media/image26.svg"/><Relationship Id="rId23" Type="http://schemas.openxmlformats.org/officeDocument/2006/relationships/image" Target="../media/image34.svg"/><Relationship Id="rId28" Type="http://schemas.openxmlformats.org/officeDocument/2006/relationships/image" Target="../media/image39.png"/><Relationship Id="rId36" Type="http://schemas.openxmlformats.org/officeDocument/2006/relationships/image" Target="../media/image47.png"/><Relationship Id="rId49" Type="http://schemas.openxmlformats.org/officeDocument/2006/relationships/image" Target="../media/image60.svg"/><Relationship Id="rId57" Type="http://schemas.openxmlformats.org/officeDocument/2006/relationships/image" Target="../media/image68.svg"/><Relationship Id="rId10" Type="http://schemas.openxmlformats.org/officeDocument/2006/relationships/image" Target="../media/image21.png"/><Relationship Id="rId31" Type="http://schemas.openxmlformats.org/officeDocument/2006/relationships/image" Target="../media/image42.svg"/><Relationship Id="rId44" Type="http://schemas.openxmlformats.org/officeDocument/2006/relationships/image" Target="../media/image55.png"/><Relationship Id="rId52" Type="http://schemas.openxmlformats.org/officeDocument/2006/relationships/image" Target="../media/image63.png"/><Relationship Id="rId60" Type="http://schemas.openxmlformats.org/officeDocument/2006/relationships/image" Target="../media/image71.png"/><Relationship Id="rId65" Type="http://schemas.openxmlformats.org/officeDocument/2006/relationships/image" Target="../media/image76.svg"/><Relationship Id="rId73" Type="http://schemas.openxmlformats.org/officeDocument/2006/relationships/image" Target="../media/image84.svg"/><Relationship Id="rId4" Type="http://schemas.openxmlformats.org/officeDocument/2006/relationships/image" Target="../media/image15.png"/><Relationship Id="rId9" Type="http://schemas.openxmlformats.org/officeDocument/2006/relationships/image" Target="../media/image20.svg"/><Relationship Id="rId13" Type="http://schemas.openxmlformats.org/officeDocument/2006/relationships/image" Target="../media/image24.svg"/><Relationship Id="rId18" Type="http://schemas.openxmlformats.org/officeDocument/2006/relationships/image" Target="../media/image29.png"/><Relationship Id="rId39" Type="http://schemas.openxmlformats.org/officeDocument/2006/relationships/image" Target="../media/image50.svg"/><Relationship Id="rId34" Type="http://schemas.openxmlformats.org/officeDocument/2006/relationships/image" Target="../media/image45.png"/><Relationship Id="rId50" Type="http://schemas.openxmlformats.org/officeDocument/2006/relationships/image" Target="../media/image61.png"/><Relationship Id="rId55" Type="http://schemas.openxmlformats.org/officeDocument/2006/relationships/image" Target="../media/image66.svg"/><Relationship Id="rId76" Type="http://schemas.openxmlformats.org/officeDocument/2006/relationships/image" Target="../media/image87.png"/><Relationship Id="rId7" Type="http://schemas.openxmlformats.org/officeDocument/2006/relationships/image" Target="../media/image18.svg"/><Relationship Id="rId71" Type="http://schemas.openxmlformats.org/officeDocument/2006/relationships/image" Target="../media/image82.svg"/><Relationship Id="rId2" Type="http://schemas.openxmlformats.org/officeDocument/2006/relationships/image" Target="../media/image13.png"/><Relationship Id="rId29" Type="http://schemas.openxmlformats.org/officeDocument/2006/relationships/image" Target="../media/image40.svg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jpeg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6.png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image" Target="../media/image92.svg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91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image" Target="../media/image90.emf"/><Relationship Id="rId5" Type="http://schemas.openxmlformats.org/officeDocument/2006/relationships/tags" Target="../tags/tag86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85.xml"/><Relationship Id="rId9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92.xml"/><Relationship Id="rId7" Type="http://schemas.openxmlformats.org/officeDocument/2006/relationships/slideMaster" Target="../slideMasters/slideMaster14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5" Type="http://schemas.openxmlformats.org/officeDocument/2006/relationships/tags" Target="../tags/tag94.xml"/><Relationship Id="rId4" Type="http://schemas.openxmlformats.org/officeDocument/2006/relationships/tags" Target="../tags/tag93.xml"/><Relationship Id="rId9" Type="http://schemas.openxmlformats.org/officeDocument/2006/relationships/image" Target="../media/image90.emf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7.png"/><Relationship Id="rId21" Type="http://schemas.openxmlformats.org/officeDocument/2006/relationships/image" Target="../media/image32.svg"/><Relationship Id="rId42" Type="http://schemas.openxmlformats.org/officeDocument/2006/relationships/image" Target="../media/image53.png"/><Relationship Id="rId47" Type="http://schemas.openxmlformats.org/officeDocument/2006/relationships/image" Target="../media/image58.svg"/><Relationship Id="rId63" Type="http://schemas.openxmlformats.org/officeDocument/2006/relationships/image" Target="../media/image74.svg"/><Relationship Id="rId68" Type="http://schemas.openxmlformats.org/officeDocument/2006/relationships/image" Target="../media/image79.png"/><Relationship Id="rId16" Type="http://schemas.openxmlformats.org/officeDocument/2006/relationships/image" Target="../media/image27.png"/><Relationship Id="rId11" Type="http://schemas.openxmlformats.org/officeDocument/2006/relationships/image" Target="../media/image22.svg"/><Relationship Id="rId24" Type="http://schemas.openxmlformats.org/officeDocument/2006/relationships/image" Target="../media/image35.png"/><Relationship Id="rId32" Type="http://schemas.openxmlformats.org/officeDocument/2006/relationships/image" Target="../media/image43.png"/><Relationship Id="rId37" Type="http://schemas.openxmlformats.org/officeDocument/2006/relationships/image" Target="../media/image48.svg"/><Relationship Id="rId40" Type="http://schemas.openxmlformats.org/officeDocument/2006/relationships/image" Target="../media/image51.png"/><Relationship Id="rId45" Type="http://schemas.openxmlformats.org/officeDocument/2006/relationships/image" Target="../media/image56.svg"/><Relationship Id="rId53" Type="http://schemas.openxmlformats.org/officeDocument/2006/relationships/image" Target="../media/image64.svg"/><Relationship Id="rId58" Type="http://schemas.openxmlformats.org/officeDocument/2006/relationships/image" Target="../media/image69.png"/><Relationship Id="rId66" Type="http://schemas.openxmlformats.org/officeDocument/2006/relationships/image" Target="../media/image77.png"/><Relationship Id="rId74" Type="http://schemas.openxmlformats.org/officeDocument/2006/relationships/image" Target="../media/image85.png"/><Relationship Id="rId5" Type="http://schemas.openxmlformats.org/officeDocument/2006/relationships/image" Target="../media/image16.svg"/><Relationship Id="rId61" Type="http://schemas.openxmlformats.org/officeDocument/2006/relationships/image" Target="../media/image72.svg"/><Relationship Id="rId19" Type="http://schemas.openxmlformats.org/officeDocument/2006/relationships/image" Target="../media/image30.svg"/><Relationship Id="rId14" Type="http://schemas.openxmlformats.org/officeDocument/2006/relationships/image" Target="../media/image25.png"/><Relationship Id="rId22" Type="http://schemas.openxmlformats.org/officeDocument/2006/relationships/image" Target="../media/image33.png"/><Relationship Id="rId27" Type="http://schemas.openxmlformats.org/officeDocument/2006/relationships/image" Target="../media/image38.svg"/><Relationship Id="rId30" Type="http://schemas.openxmlformats.org/officeDocument/2006/relationships/image" Target="../media/image41.png"/><Relationship Id="rId35" Type="http://schemas.openxmlformats.org/officeDocument/2006/relationships/image" Target="../media/image46.svg"/><Relationship Id="rId43" Type="http://schemas.openxmlformats.org/officeDocument/2006/relationships/image" Target="../media/image54.svg"/><Relationship Id="rId48" Type="http://schemas.openxmlformats.org/officeDocument/2006/relationships/image" Target="../media/image59.png"/><Relationship Id="rId56" Type="http://schemas.openxmlformats.org/officeDocument/2006/relationships/image" Target="../media/image67.png"/><Relationship Id="rId64" Type="http://schemas.openxmlformats.org/officeDocument/2006/relationships/image" Target="../media/image75.png"/><Relationship Id="rId69" Type="http://schemas.openxmlformats.org/officeDocument/2006/relationships/image" Target="../media/image80.svg"/><Relationship Id="rId77" Type="http://schemas.openxmlformats.org/officeDocument/2006/relationships/image" Target="../media/image88.svg"/><Relationship Id="rId8" Type="http://schemas.openxmlformats.org/officeDocument/2006/relationships/image" Target="../media/image19.png"/><Relationship Id="rId51" Type="http://schemas.openxmlformats.org/officeDocument/2006/relationships/image" Target="../media/image62.svg"/><Relationship Id="rId72" Type="http://schemas.openxmlformats.org/officeDocument/2006/relationships/image" Target="../media/image83.png"/><Relationship Id="rId3" Type="http://schemas.openxmlformats.org/officeDocument/2006/relationships/image" Target="../media/image14.svg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5" Type="http://schemas.openxmlformats.org/officeDocument/2006/relationships/image" Target="../media/image36.svg"/><Relationship Id="rId33" Type="http://schemas.openxmlformats.org/officeDocument/2006/relationships/image" Target="../media/image44.svg"/><Relationship Id="rId38" Type="http://schemas.openxmlformats.org/officeDocument/2006/relationships/image" Target="../media/image49.png"/><Relationship Id="rId46" Type="http://schemas.openxmlformats.org/officeDocument/2006/relationships/image" Target="../media/image57.png"/><Relationship Id="rId59" Type="http://schemas.openxmlformats.org/officeDocument/2006/relationships/image" Target="../media/image70.svg"/><Relationship Id="rId67" Type="http://schemas.openxmlformats.org/officeDocument/2006/relationships/image" Target="../media/image78.svg"/><Relationship Id="rId20" Type="http://schemas.openxmlformats.org/officeDocument/2006/relationships/image" Target="../media/image31.png"/><Relationship Id="rId41" Type="http://schemas.openxmlformats.org/officeDocument/2006/relationships/image" Target="../media/image52.svg"/><Relationship Id="rId54" Type="http://schemas.openxmlformats.org/officeDocument/2006/relationships/image" Target="../media/image65.png"/><Relationship Id="rId62" Type="http://schemas.openxmlformats.org/officeDocument/2006/relationships/image" Target="../media/image73.png"/><Relationship Id="rId70" Type="http://schemas.openxmlformats.org/officeDocument/2006/relationships/image" Target="../media/image81.png"/><Relationship Id="rId75" Type="http://schemas.openxmlformats.org/officeDocument/2006/relationships/image" Target="../media/image86.sv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17.png"/><Relationship Id="rId15" Type="http://schemas.openxmlformats.org/officeDocument/2006/relationships/image" Target="../media/image26.svg"/><Relationship Id="rId23" Type="http://schemas.openxmlformats.org/officeDocument/2006/relationships/image" Target="../media/image34.svg"/><Relationship Id="rId28" Type="http://schemas.openxmlformats.org/officeDocument/2006/relationships/image" Target="../media/image39.png"/><Relationship Id="rId36" Type="http://schemas.openxmlformats.org/officeDocument/2006/relationships/image" Target="../media/image47.png"/><Relationship Id="rId49" Type="http://schemas.openxmlformats.org/officeDocument/2006/relationships/image" Target="../media/image60.svg"/><Relationship Id="rId57" Type="http://schemas.openxmlformats.org/officeDocument/2006/relationships/image" Target="../media/image68.svg"/><Relationship Id="rId10" Type="http://schemas.openxmlformats.org/officeDocument/2006/relationships/image" Target="../media/image21.png"/><Relationship Id="rId31" Type="http://schemas.openxmlformats.org/officeDocument/2006/relationships/image" Target="../media/image42.svg"/><Relationship Id="rId44" Type="http://schemas.openxmlformats.org/officeDocument/2006/relationships/image" Target="../media/image55.png"/><Relationship Id="rId52" Type="http://schemas.openxmlformats.org/officeDocument/2006/relationships/image" Target="../media/image63.png"/><Relationship Id="rId60" Type="http://schemas.openxmlformats.org/officeDocument/2006/relationships/image" Target="../media/image71.png"/><Relationship Id="rId65" Type="http://schemas.openxmlformats.org/officeDocument/2006/relationships/image" Target="../media/image76.svg"/><Relationship Id="rId73" Type="http://schemas.openxmlformats.org/officeDocument/2006/relationships/image" Target="../media/image84.svg"/><Relationship Id="rId4" Type="http://schemas.openxmlformats.org/officeDocument/2006/relationships/image" Target="../media/image15.png"/><Relationship Id="rId9" Type="http://schemas.openxmlformats.org/officeDocument/2006/relationships/image" Target="../media/image20.svg"/><Relationship Id="rId13" Type="http://schemas.openxmlformats.org/officeDocument/2006/relationships/image" Target="../media/image24.svg"/><Relationship Id="rId18" Type="http://schemas.openxmlformats.org/officeDocument/2006/relationships/image" Target="../media/image29.png"/><Relationship Id="rId39" Type="http://schemas.openxmlformats.org/officeDocument/2006/relationships/image" Target="../media/image50.svg"/><Relationship Id="rId34" Type="http://schemas.openxmlformats.org/officeDocument/2006/relationships/image" Target="../media/image45.png"/><Relationship Id="rId50" Type="http://schemas.openxmlformats.org/officeDocument/2006/relationships/image" Target="../media/image61.png"/><Relationship Id="rId55" Type="http://schemas.openxmlformats.org/officeDocument/2006/relationships/image" Target="../media/image66.svg"/><Relationship Id="rId76" Type="http://schemas.openxmlformats.org/officeDocument/2006/relationships/image" Target="../media/image87.png"/><Relationship Id="rId7" Type="http://schemas.openxmlformats.org/officeDocument/2006/relationships/image" Target="../media/image18.svg"/><Relationship Id="rId71" Type="http://schemas.openxmlformats.org/officeDocument/2006/relationships/image" Target="../media/image82.svg"/><Relationship Id="rId2" Type="http://schemas.openxmlformats.org/officeDocument/2006/relationships/image" Target="../media/image13.png"/><Relationship Id="rId29" Type="http://schemas.openxmlformats.org/officeDocument/2006/relationships/image" Target="../media/image40.sv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7.png"/><Relationship Id="rId21" Type="http://schemas.openxmlformats.org/officeDocument/2006/relationships/image" Target="../media/image32.svg"/><Relationship Id="rId42" Type="http://schemas.openxmlformats.org/officeDocument/2006/relationships/image" Target="../media/image53.png"/><Relationship Id="rId47" Type="http://schemas.openxmlformats.org/officeDocument/2006/relationships/image" Target="../media/image58.svg"/><Relationship Id="rId63" Type="http://schemas.openxmlformats.org/officeDocument/2006/relationships/image" Target="../media/image74.svg"/><Relationship Id="rId68" Type="http://schemas.openxmlformats.org/officeDocument/2006/relationships/image" Target="../media/image79.png"/><Relationship Id="rId16" Type="http://schemas.openxmlformats.org/officeDocument/2006/relationships/image" Target="../media/image27.png"/><Relationship Id="rId11" Type="http://schemas.openxmlformats.org/officeDocument/2006/relationships/image" Target="../media/image22.svg"/><Relationship Id="rId24" Type="http://schemas.openxmlformats.org/officeDocument/2006/relationships/image" Target="../media/image35.png"/><Relationship Id="rId32" Type="http://schemas.openxmlformats.org/officeDocument/2006/relationships/image" Target="../media/image43.png"/><Relationship Id="rId37" Type="http://schemas.openxmlformats.org/officeDocument/2006/relationships/image" Target="../media/image48.svg"/><Relationship Id="rId40" Type="http://schemas.openxmlformats.org/officeDocument/2006/relationships/image" Target="../media/image51.png"/><Relationship Id="rId45" Type="http://schemas.openxmlformats.org/officeDocument/2006/relationships/image" Target="../media/image56.svg"/><Relationship Id="rId53" Type="http://schemas.openxmlformats.org/officeDocument/2006/relationships/image" Target="../media/image64.svg"/><Relationship Id="rId58" Type="http://schemas.openxmlformats.org/officeDocument/2006/relationships/image" Target="../media/image69.png"/><Relationship Id="rId66" Type="http://schemas.openxmlformats.org/officeDocument/2006/relationships/image" Target="../media/image77.png"/><Relationship Id="rId74" Type="http://schemas.openxmlformats.org/officeDocument/2006/relationships/image" Target="../media/image85.png"/><Relationship Id="rId5" Type="http://schemas.openxmlformats.org/officeDocument/2006/relationships/image" Target="../media/image16.svg"/><Relationship Id="rId61" Type="http://schemas.openxmlformats.org/officeDocument/2006/relationships/image" Target="../media/image72.svg"/><Relationship Id="rId19" Type="http://schemas.openxmlformats.org/officeDocument/2006/relationships/image" Target="../media/image30.svg"/><Relationship Id="rId14" Type="http://schemas.openxmlformats.org/officeDocument/2006/relationships/image" Target="../media/image25.png"/><Relationship Id="rId22" Type="http://schemas.openxmlformats.org/officeDocument/2006/relationships/image" Target="../media/image33.png"/><Relationship Id="rId27" Type="http://schemas.openxmlformats.org/officeDocument/2006/relationships/image" Target="../media/image38.svg"/><Relationship Id="rId30" Type="http://schemas.openxmlformats.org/officeDocument/2006/relationships/image" Target="../media/image41.png"/><Relationship Id="rId35" Type="http://schemas.openxmlformats.org/officeDocument/2006/relationships/image" Target="../media/image46.svg"/><Relationship Id="rId43" Type="http://schemas.openxmlformats.org/officeDocument/2006/relationships/image" Target="../media/image54.svg"/><Relationship Id="rId48" Type="http://schemas.openxmlformats.org/officeDocument/2006/relationships/image" Target="../media/image59.png"/><Relationship Id="rId56" Type="http://schemas.openxmlformats.org/officeDocument/2006/relationships/image" Target="../media/image67.png"/><Relationship Id="rId64" Type="http://schemas.openxmlformats.org/officeDocument/2006/relationships/image" Target="../media/image75.png"/><Relationship Id="rId69" Type="http://schemas.openxmlformats.org/officeDocument/2006/relationships/image" Target="../media/image80.svg"/><Relationship Id="rId77" Type="http://schemas.openxmlformats.org/officeDocument/2006/relationships/image" Target="../media/image88.svg"/><Relationship Id="rId8" Type="http://schemas.openxmlformats.org/officeDocument/2006/relationships/image" Target="../media/image19.png"/><Relationship Id="rId51" Type="http://schemas.openxmlformats.org/officeDocument/2006/relationships/image" Target="../media/image62.svg"/><Relationship Id="rId72" Type="http://schemas.openxmlformats.org/officeDocument/2006/relationships/image" Target="../media/image83.png"/><Relationship Id="rId3" Type="http://schemas.openxmlformats.org/officeDocument/2006/relationships/image" Target="../media/image14.svg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5" Type="http://schemas.openxmlformats.org/officeDocument/2006/relationships/image" Target="../media/image36.svg"/><Relationship Id="rId33" Type="http://schemas.openxmlformats.org/officeDocument/2006/relationships/image" Target="../media/image44.svg"/><Relationship Id="rId38" Type="http://schemas.openxmlformats.org/officeDocument/2006/relationships/image" Target="../media/image49.png"/><Relationship Id="rId46" Type="http://schemas.openxmlformats.org/officeDocument/2006/relationships/image" Target="../media/image57.png"/><Relationship Id="rId59" Type="http://schemas.openxmlformats.org/officeDocument/2006/relationships/image" Target="../media/image70.svg"/><Relationship Id="rId67" Type="http://schemas.openxmlformats.org/officeDocument/2006/relationships/image" Target="../media/image78.svg"/><Relationship Id="rId20" Type="http://schemas.openxmlformats.org/officeDocument/2006/relationships/image" Target="../media/image31.png"/><Relationship Id="rId41" Type="http://schemas.openxmlformats.org/officeDocument/2006/relationships/image" Target="../media/image52.svg"/><Relationship Id="rId54" Type="http://schemas.openxmlformats.org/officeDocument/2006/relationships/image" Target="../media/image65.png"/><Relationship Id="rId62" Type="http://schemas.openxmlformats.org/officeDocument/2006/relationships/image" Target="../media/image73.png"/><Relationship Id="rId70" Type="http://schemas.openxmlformats.org/officeDocument/2006/relationships/image" Target="../media/image81.png"/><Relationship Id="rId75" Type="http://schemas.openxmlformats.org/officeDocument/2006/relationships/image" Target="../media/image86.sv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7.png"/><Relationship Id="rId15" Type="http://schemas.openxmlformats.org/officeDocument/2006/relationships/image" Target="../media/image26.svg"/><Relationship Id="rId23" Type="http://schemas.openxmlformats.org/officeDocument/2006/relationships/image" Target="../media/image34.svg"/><Relationship Id="rId28" Type="http://schemas.openxmlformats.org/officeDocument/2006/relationships/image" Target="../media/image39.png"/><Relationship Id="rId36" Type="http://schemas.openxmlformats.org/officeDocument/2006/relationships/image" Target="../media/image47.png"/><Relationship Id="rId49" Type="http://schemas.openxmlformats.org/officeDocument/2006/relationships/image" Target="../media/image60.svg"/><Relationship Id="rId57" Type="http://schemas.openxmlformats.org/officeDocument/2006/relationships/image" Target="../media/image68.svg"/><Relationship Id="rId10" Type="http://schemas.openxmlformats.org/officeDocument/2006/relationships/image" Target="../media/image21.png"/><Relationship Id="rId31" Type="http://schemas.openxmlformats.org/officeDocument/2006/relationships/image" Target="../media/image42.svg"/><Relationship Id="rId44" Type="http://schemas.openxmlformats.org/officeDocument/2006/relationships/image" Target="../media/image55.png"/><Relationship Id="rId52" Type="http://schemas.openxmlformats.org/officeDocument/2006/relationships/image" Target="../media/image63.png"/><Relationship Id="rId60" Type="http://schemas.openxmlformats.org/officeDocument/2006/relationships/image" Target="../media/image71.png"/><Relationship Id="rId65" Type="http://schemas.openxmlformats.org/officeDocument/2006/relationships/image" Target="../media/image76.svg"/><Relationship Id="rId73" Type="http://schemas.openxmlformats.org/officeDocument/2006/relationships/image" Target="../media/image84.svg"/><Relationship Id="rId4" Type="http://schemas.openxmlformats.org/officeDocument/2006/relationships/image" Target="../media/image15.png"/><Relationship Id="rId9" Type="http://schemas.openxmlformats.org/officeDocument/2006/relationships/image" Target="../media/image20.svg"/><Relationship Id="rId13" Type="http://schemas.openxmlformats.org/officeDocument/2006/relationships/image" Target="../media/image24.svg"/><Relationship Id="rId18" Type="http://schemas.openxmlformats.org/officeDocument/2006/relationships/image" Target="../media/image29.png"/><Relationship Id="rId39" Type="http://schemas.openxmlformats.org/officeDocument/2006/relationships/image" Target="../media/image50.svg"/><Relationship Id="rId34" Type="http://schemas.openxmlformats.org/officeDocument/2006/relationships/image" Target="../media/image45.png"/><Relationship Id="rId50" Type="http://schemas.openxmlformats.org/officeDocument/2006/relationships/image" Target="../media/image61.png"/><Relationship Id="rId55" Type="http://schemas.openxmlformats.org/officeDocument/2006/relationships/image" Target="../media/image66.svg"/><Relationship Id="rId76" Type="http://schemas.openxmlformats.org/officeDocument/2006/relationships/image" Target="../media/image87.png"/><Relationship Id="rId7" Type="http://schemas.openxmlformats.org/officeDocument/2006/relationships/image" Target="../media/image18.svg"/><Relationship Id="rId71" Type="http://schemas.openxmlformats.org/officeDocument/2006/relationships/image" Target="../media/image82.svg"/><Relationship Id="rId2" Type="http://schemas.openxmlformats.org/officeDocument/2006/relationships/image" Target="../media/image13.png"/><Relationship Id="rId29" Type="http://schemas.openxmlformats.org/officeDocument/2006/relationships/image" Target="../media/image4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7.png"/><Relationship Id="rId21" Type="http://schemas.openxmlformats.org/officeDocument/2006/relationships/image" Target="../media/image32.svg"/><Relationship Id="rId42" Type="http://schemas.openxmlformats.org/officeDocument/2006/relationships/image" Target="../media/image53.png"/><Relationship Id="rId47" Type="http://schemas.openxmlformats.org/officeDocument/2006/relationships/image" Target="../media/image58.svg"/><Relationship Id="rId63" Type="http://schemas.openxmlformats.org/officeDocument/2006/relationships/image" Target="../media/image74.svg"/><Relationship Id="rId68" Type="http://schemas.openxmlformats.org/officeDocument/2006/relationships/image" Target="../media/image79.png"/><Relationship Id="rId16" Type="http://schemas.openxmlformats.org/officeDocument/2006/relationships/image" Target="../media/image27.png"/><Relationship Id="rId11" Type="http://schemas.openxmlformats.org/officeDocument/2006/relationships/image" Target="../media/image22.svg"/><Relationship Id="rId24" Type="http://schemas.openxmlformats.org/officeDocument/2006/relationships/image" Target="../media/image35.png"/><Relationship Id="rId32" Type="http://schemas.openxmlformats.org/officeDocument/2006/relationships/image" Target="../media/image43.png"/><Relationship Id="rId37" Type="http://schemas.openxmlformats.org/officeDocument/2006/relationships/image" Target="../media/image48.svg"/><Relationship Id="rId40" Type="http://schemas.openxmlformats.org/officeDocument/2006/relationships/image" Target="../media/image51.png"/><Relationship Id="rId45" Type="http://schemas.openxmlformats.org/officeDocument/2006/relationships/image" Target="../media/image56.svg"/><Relationship Id="rId53" Type="http://schemas.openxmlformats.org/officeDocument/2006/relationships/image" Target="../media/image64.svg"/><Relationship Id="rId58" Type="http://schemas.openxmlformats.org/officeDocument/2006/relationships/image" Target="../media/image69.png"/><Relationship Id="rId66" Type="http://schemas.openxmlformats.org/officeDocument/2006/relationships/image" Target="../media/image77.png"/><Relationship Id="rId74" Type="http://schemas.openxmlformats.org/officeDocument/2006/relationships/image" Target="../media/image85.png"/><Relationship Id="rId5" Type="http://schemas.openxmlformats.org/officeDocument/2006/relationships/image" Target="../media/image16.svg"/><Relationship Id="rId61" Type="http://schemas.openxmlformats.org/officeDocument/2006/relationships/image" Target="../media/image72.svg"/><Relationship Id="rId19" Type="http://schemas.openxmlformats.org/officeDocument/2006/relationships/image" Target="../media/image30.svg"/><Relationship Id="rId14" Type="http://schemas.openxmlformats.org/officeDocument/2006/relationships/image" Target="../media/image25.png"/><Relationship Id="rId22" Type="http://schemas.openxmlformats.org/officeDocument/2006/relationships/image" Target="../media/image33.png"/><Relationship Id="rId27" Type="http://schemas.openxmlformats.org/officeDocument/2006/relationships/image" Target="../media/image38.svg"/><Relationship Id="rId30" Type="http://schemas.openxmlformats.org/officeDocument/2006/relationships/image" Target="../media/image41.png"/><Relationship Id="rId35" Type="http://schemas.openxmlformats.org/officeDocument/2006/relationships/image" Target="../media/image46.svg"/><Relationship Id="rId43" Type="http://schemas.openxmlformats.org/officeDocument/2006/relationships/image" Target="../media/image54.svg"/><Relationship Id="rId48" Type="http://schemas.openxmlformats.org/officeDocument/2006/relationships/image" Target="../media/image59.png"/><Relationship Id="rId56" Type="http://schemas.openxmlformats.org/officeDocument/2006/relationships/image" Target="../media/image67.png"/><Relationship Id="rId64" Type="http://schemas.openxmlformats.org/officeDocument/2006/relationships/image" Target="../media/image75.png"/><Relationship Id="rId69" Type="http://schemas.openxmlformats.org/officeDocument/2006/relationships/image" Target="../media/image80.svg"/><Relationship Id="rId77" Type="http://schemas.openxmlformats.org/officeDocument/2006/relationships/image" Target="../media/image88.svg"/><Relationship Id="rId8" Type="http://schemas.openxmlformats.org/officeDocument/2006/relationships/image" Target="../media/image19.png"/><Relationship Id="rId51" Type="http://schemas.openxmlformats.org/officeDocument/2006/relationships/image" Target="../media/image62.svg"/><Relationship Id="rId72" Type="http://schemas.openxmlformats.org/officeDocument/2006/relationships/image" Target="../media/image83.png"/><Relationship Id="rId3" Type="http://schemas.openxmlformats.org/officeDocument/2006/relationships/image" Target="../media/image14.svg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5" Type="http://schemas.openxmlformats.org/officeDocument/2006/relationships/image" Target="../media/image36.svg"/><Relationship Id="rId33" Type="http://schemas.openxmlformats.org/officeDocument/2006/relationships/image" Target="../media/image44.svg"/><Relationship Id="rId38" Type="http://schemas.openxmlformats.org/officeDocument/2006/relationships/image" Target="../media/image49.png"/><Relationship Id="rId46" Type="http://schemas.openxmlformats.org/officeDocument/2006/relationships/image" Target="../media/image57.png"/><Relationship Id="rId59" Type="http://schemas.openxmlformats.org/officeDocument/2006/relationships/image" Target="../media/image70.svg"/><Relationship Id="rId67" Type="http://schemas.openxmlformats.org/officeDocument/2006/relationships/image" Target="../media/image78.svg"/><Relationship Id="rId20" Type="http://schemas.openxmlformats.org/officeDocument/2006/relationships/image" Target="../media/image31.png"/><Relationship Id="rId41" Type="http://schemas.openxmlformats.org/officeDocument/2006/relationships/image" Target="../media/image52.svg"/><Relationship Id="rId54" Type="http://schemas.openxmlformats.org/officeDocument/2006/relationships/image" Target="../media/image65.png"/><Relationship Id="rId62" Type="http://schemas.openxmlformats.org/officeDocument/2006/relationships/image" Target="../media/image73.png"/><Relationship Id="rId70" Type="http://schemas.openxmlformats.org/officeDocument/2006/relationships/image" Target="../media/image81.png"/><Relationship Id="rId75" Type="http://schemas.openxmlformats.org/officeDocument/2006/relationships/image" Target="../media/image86.sv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15" Type="http://schemas.openxmlformats.org/officeDocument/2006/relationships/image" Target="../media/image26.svg"/><Relationship Id="rId23" Type="http://schemas.openxmlformats.org/officeDocument/2006/relationships/image" Target="../media/image34.svg"/><Relationship Id="rId28" Type="http://schemas.openxmlformats.org/officeDocument/2006/relationships/image" Target="../media/image39.png"/><Relationship Id="rId36" Type="http://schemas.openxmlformats.org/officeDocument/2006/relationships/image" Target="../media/image47.png"/><Relationship Id="rId49" Type="http://schemas.openxmlformats.org/officeDocument/2006/relationships/image" Target="../media/image60.svg"/><Relationship Id="rId57" Type="http://schemas.openxmlformats.org/officeDocument/2006/relationships/image" Target="../media/image68.svg"/><Relationship Id="rId10" Type="http://schemas.openxmlformats.org/officeDocument/2006/relationships/image" Target="../media/image21.png"/><Relationship Id="rId31" Type="http://schemas.openxmlformats.org/officeDocument/2006/relationships/image" Target="../media/image42.svg"/><Relationship Id="rId44" Type="http://schemas.openxmlformats.org/officeDocument/2006/relationships/image" Target="../media/image55.png"/><Relationship Id="rId52" Type="http://schemas.openxmlformats.org/officeDocument/2006/relationships/image" Target="../media/image63.png"/><Relationship Id="rId60" Type="http://schemas.openxmlformats.org/officeDocument/2006/relationships/image" Target="../media/image71.png"/><Relationship Id="rId65" Type="http://schemas.openxmlformats.org/officeDocument/2006/relationships/image" Target="../media/image76.svg"/><Relationship Id="rId73" Type="http://schemas.openxmlformats.org/officeDocument/2006/relationships/image" Target="../media/image84.svg"/><Relationship Id="rId4" Type="http://schemas.openxmlformats.org/officeDocument/2006/relationships/image" Target="../media/image15.png"/><Relationship Id="rId9" Type="http://schemas.openxmlformats.org/officeDocument/2006/relationships/image" Target="../media/image20.svg"/><Relationship Id="rId13" Type="http://schemas.openxmlformats.org/officeDocument/2006/relationships/image" Target="../media/image24.svg"/><Relationship Id="rId18" Type="http://schemas.openxmlformats.org/officeDocument/2006/relationships/image" Target="../media/image29.png"/><Relationship Id="rId39" Type="http://schemas.openxmlformats.org/officeDocument/2006/relationships/image" Target="../media/image50.svg"/><Relationship Id="rId34" Type="http://schemas.openxmlformats.org/officeDocument/2006/relationships/image" Target="../media/image45.png"/><Relationship Id="rId50" Type="http://schemas.openxmlformats.org/officeDocument/2006/relationships/image" Target="../media/image61.png"/><Relationship Id="rId55" Type="http://schemas.openxmlformats.org/officeDocument/2006/relationships/image" Target="../media/image66.svg"/><Relationship Id="rId76" Type="http://schemas.openxmlformats.org/officeDocument/2006/relationships/image" Target="../media/image87.png"/><Relationship Id="rId7" Type="http://schemas.openxmlformats.org/officeDocument/2006/relationships/image" Target="../media/image18.svg"/><Relationship Id="rId71" Type="http://schemas.openxmlformats.org/officeDocument/2006/relationships/image" Target="../media/image82.svg"/><Relationship Id="rId2" Type="http://schemas.openxmlformats.org/officeDocument/2006/relationships/image" Target="../media/image13.png"/><Relationship Id="rId29" Type="http://schemas.openxmlformats.org/officeDocument/2006/relationships/image" Target="../media/image40.sv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92.sv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9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90.emf"/><Relationship Id="rId5" Type="http://schemas.openxmlformats.org/officeDocument/2006/relationships/tags" Target="../tags/tag5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2.sv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91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90.emf"/><Relationship Id="rId5" Type="http://schemas.openxmlformats.org/officeDocument/2006/relationships/tags" Target="../tags/tag14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3.xml"/><Relationship Id="rId9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2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image" Target="../media/image90.emf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7.png"/><Relationship Id="rId21" Type="http://schemas.openxmlformats.org/officeDocument/2006/relationships/image" Target="../media/image32.svg"/><Relationship Id="rId42" Type="http://schemas.openxmlformats.org/officeDocument/2006/relationships/image" Target="../media/image53.png"/><Relationship Id="rId47" Type="http://schemas.openxmlformats.org/officeDocument/2006/relationships/image" Target="../media/image58.svg"/><Relationship Id="rId63" Type="http://schemas.openxmlformats.org/officeDocument/2006/relationships/image" Target="../media/image74.svg"/><Relationship Id="rId68" Type="http://schemas.openxmlformats.org/officeDocument/2006/relationships/image" Target="../media/image79.png"/><Relationship Id="rId16" Type="http://schemas.openxmlformats.org/officeDocument/2006/relationships/image" Target="../media/image27.png"/><Relationship Id="rId11" Type="http://schemas.openxmlformats.org/officeDocument/2006/relationships/image" Target="../media/image22.svg"/><Relationship Id="rId24" Type="http://schemas.openxmlformats.org/officeDocument/2006/relationships/image" Target="../media/image35.png"/><Relationship Id="rId32" Type="http://schemas.openxmlformats.org/officeDocument/2006/relationships/image" Target="../media/image43.png"/><Relationship Id="rId37" Type="http://schemas.openxmlformats.org/officeDocument/2006/relationships/image" Target="../media/image48.svg"/><Relationship Id="rId40" Type="http://schemas.openxmlformats.org/officeDocument/2006/relationships/image" Target="../media/image51.png"/><Relationship Id="rId45" Type="http://schemas.openxmlformats.org/officeDocument/2006/relationships/image" Target="../media/image56.svg"/><Relationship Id="rId53" Type="http://schemas.openxmlformats.org/officeDocument/2006/relationships/image" Target="../media/image64.svg"/><Relationship Id="rId58" Type="http://schemas.openxmlformats.org/officeDocument/2006/relationships/image" Target="../media/image69.png"/><Relationship Id="rId66" Type="http://schemas.openxmlformats.org/officeDocument/2006/relationships/image" Target="../media/image77.png"/><Relationship Id="rId74" Type="http://schemas.openxmlformats.org/officeDocument/2006/relationships/image" Target="../media/image85.png"/><Relationship Id="rId5" Type="http://schemas.openxmlformats.org/officeDocument/2006/relationships/image" Target="../media/image16.svg"/><Relationship Id="rId61" Type="http://schemas.openxmlformats.org/officeDocument/2006/relationships/image" Target="../media/image72.svg"/><Relationship Id="rId19" Type="http://schemas.openxmlformats.org/officeDocument/2006/relationships/image" Target="../media/image30.svg"/><Relationship Id="rId14" Type="http://schemas.openxmlformats.org/officeDocument/2006/relationships/image" Target="../media/image25.png"/><Relationship Id="rId22" Type="http://schemas.openxmlformats.org/officeDocument/2006/relationships/image" Target="../media/image33.png"/><Relationship Id="rId27" Type="http://schemas.openxmlformats.org/officeDocument/2006/relationships/image" Target="../media/image38.svg"/><Relationship Id="rId30" Type="http://schemas.openxmlformats.org/officeDocument/2006/relationships/image" Target="../media/image41.png"/><Relationship Id="rId35" Type="http://schemas.openxmlformats.org/officeDocument/2006/relationships/image" Target="../media/image46.svg"/><Relationship Id="rId43" Type="http://schemas.openxmlformats.org/officeDocument/2006/relationships/image" Target="../media/image54.svg"/><Relationship Id="rId48" Type="http://schemas.openxmlformats.org/officeDocument/2006/relationships/image" Target="../media/image59.png"/><Relationship Id="rId56" Type="http://schemas.openxmlformats.org/officeDocument/2006/relationships/image" Target="../media/image67.png"/><Relationship Id="rId64" Type="http://schemas.openxmlformats.org/officeDocument/2006/relationships/image" Target="../media/image75.png"/><Relationship Id="rId69" Type="http://schemas.openxmlformats.org/officeDocument/2006/relationships/image" Target="../media/image80.svg"/><Relationship Id="rId77" Type="http://schemas.openxmlformats.org/officeDocument/2006/relationships/image" Target="../media/image88.svg"/><Relationship Id="rId8" Type="http://schemas.openxmlformats.org/officeDocument/2006/relationships/image" Target="../media/image19.png"/><Relationship Id="rId51" Type="http://schemas.openxmlformats.org/officeDocument/2006/relationships/image" Target="../media/image62.svg"/><Relationship Id="rId72" Type="http://schemas.openxmlformats.org/officeDocument/2006/relationships/image" Target="../media/image83.png"/><Relationship Id="rId3" Type="http://schemas.openxmlformats.org/officeDocument/2006/relationships/image" Target="../media/image14.svg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5" Type="http://schemas.openxmlformats.org/officeDocument/2006/relationships/image" Target="../media/image36.svg"/><Relationship Id="rId33" Type="http://schemas.openxmlformats.org/officeDocument/2006/relationships/image" Target="../media/image44.svg"/><Relationship Id="rId38" Type="http://schemas.openxmlformats.org/officeDocument/2006/relationships/image" Target="../media/image49.png"/><Relationship Id="rId46" Type="http://schemas.openxmlformats.org/officeDocument/2006/relationships/image" Target="../media/image57.png"/><Relationship Id="rId59" Type="http://schemas.openxmlformats.org/officeDocument/2006/relationships/image" Target="../media/image70.svg"/><Relationship Id="rId67" Type="http://schemas.openxmlformats.org/officeDocument/2006/relationships/image" Target="../media/image78.svg"/><Relationship Id="rId20" Type="http://schemas.openxmlformats.org/officeDocument/2006/relationships/image" Target="../media/image31.png"/><Relationship Id="rId41" Type="http://schemas.openxmlformats.org/officeDocument/2006/relationships/image" Target="../media/image52.svg"/><Relationship Id="rId54" Type="http://schemas.openxmlformats.org/officeDocument/2006/relationships/image" Target="../media/image65.png"/><Relationship Id="rId62" Type="http://schemas.openxmlformats.org/officeDocument/2006/relationships/image" Target="../media/image73.png"/><Relationship Id="rId70" Type="http://schemas.openxmlformats.org/officeDocument/2006/relationships/image" Target="../media/image81.png"/><Relationship Id="rId75" Type="http://schemas.openxmlformats.org/officeDocument/2006/relationships/image" Target="../media/image86.sv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7.png"/><Relationship Id="rId15" Type="http://schemas.openxmlformats.org/officeDocument/2006/relationships/image" Target="../media/image26.svg"/><Relationship Id="rId23" Type="http://schemas.openxmlformats.org/officeDocument/2006/relationships/image" Target="../media/image34.svg"/><Relationship Id="rId28" Type="http://schemas.openxmlformats.org/officeDocument/2006/relationships/image" Target="../media/image39.png"/><Relationship Id="rId36" Type="http://schemas.openxmlformats.org/officeDocument/2006/relationships/image" Target="../media/image47.png"/><Relationship Id="rId49" Type="http://schemas.openxmlformats.org/officeDocument/2006/relationships/image" Target="../media/image60.svg"/><Relationship Id="rId57" Type="http://schemas.openxmlformats.org/officeDocument/2006/relationships/image" Target="../media/image68.svg"/><Relationship Id="rId10" Type="http://schemas.openxmlformats.org/officeDocument/2006/relationships/image" Target="../media/image21.png"/><Relationship Id="rId31" Type="http://schemas.openxmlformats.org/officeDocument/2006/relationships/image" Target="../media/image42.svg"/><Relationship Id="rId44" Type="http://schemas.openxmlformats.org/officeDocument/2006/relationships/image" Target="../media/image55.png"/><Relationship Id="rId52" Type="http://schemas.openxmlformats.org/officeDocument/2006/relationships/image" Target="../media/image63.png"/><Relationship Id="rId60" Type="http://schemas.openxmlformats.org/officeDocument/2006/relationships/image" Target="../media/image71.png"/><Relationship Id="rId65" Type="http://schemas.openxmlformats.org/officeDocument/2006/relationships/image" Target="../media/image76.svg"/><Relationship Id="rId73" Type="http://schemas.openxmlformats.org/officeDocument/2006/relationships/image" Target="../media/image84.svg"/><Relationship Id="rId4" Type="http://schemas.openxmlformats.org/officeDocument/2006/relationships/image" Target="../media/image15.png"/><Relationship Id="rId9" Type="http://schemas.openxmlformats.org/officeDocument/2006/relationships/image" Target="../media/image20.svg"/><Relationship Id="rId13" Type="http://schemas.openxmlformats.org/officeDocument/2006/relationships/image" Target="../media/image24.svg"/><Relationship Id="rId18" Type="http://schemas.openxmlformats.org/officeDocument/2006/relationships/image" Target="../media/image29.png"/><Relationship Id="rId39" Type="http://schemas.openxmlformats.org/officeDocument/2006/relationships/image" Target="../media/image50.svg"/><Relationship Id="rId34" Type="http://schemas.openxmlformats.org/officeDocument/2006/relationships/image" Target="../media/image45.png"/><Relationship Id="rId50" Type="http://schemas.openxmlformats.org/officeDocument/2006/relationships/image" Target="../media/image61.png"/><Relationship Id="rId55" Type="http://schemas.openxmlformats.org/officeDocument/2006/relationships/image" Target="../media/image66.svg"/><Relationship Id="rId76" Type="http://schemas.openxmlformats.org/officeDocument/2006/relationships/image" Target="../media/image87.png"/><Relationship Id="rId7" Type="http://schemas.openxmlformats.org/officeDocument/2006/relationships/image" Target="../media/image18.svg"/><Relationship Id="rId71" Type="http://schemas.openxmlformats.org/officeDocument/2006/relationships/image" Target="../media/image82.svg"/><Relationship Id="rId2" Type="http://schemas.openxmlformats.org/officeDocument/2006/relationships/image" Target="../media/image13.png"/><Relationship Id="rId29" Type="http://schemas.openxmlformats.org/officeDocument/2006/relationships/image" Target="../media/image40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7.png"/><Relationship Id="rId21" Type="http://schemas.openxmlformats.org/officeDocument/2006/relationships/image" Target="../media/image32.svg"/><Relationship Id="rId42" Type="http://schemas.openxmlformats.org/officeDocument/2006/relationships/image" Target="../media/image53.png"/><Relationship Id="rId47" Type="http://schemas.openxmlformats.org/officeDocument/2006/relationships/image" Target="../media/image58.svg"/><Relationship Id="rId63" Type="http://schemas.openxmlformats.org/officeDocument/2006/relationships/image" Target="../media/image74.svg"/><Relationship Id="rId68" Type="http://schemas.openxmlformats.org/officeDocument/2006/relationships/image" Target="../media/image79.png"/><Relationship Id="rId16" Type="http://schemas.openxmlformats.org/officeDocument/2006/relationships/image" Target="../media/image27.png"/><Relationship Id="rId11" Type="http://schemas.openxmlformats.org/officeDocument/2006/relationships/image" Target="../media/image22.svg"/><Relationship Id="rId24" Type="http://schemas.openxmlformats.org/officeDocument/2006/relationships/image" Target="../media/image35.png"/><Relationship Id="rId32" Type="http://schemas.openxmlformats.org/officeDocument/2006/relationships/image" Target="../media/image43.png"/><Relationship Id="rId37" Type="http://schemas.openxmlformats.org/officeDocument/2006/relationships/image" Target="../media/image48.svg"/><Relationship Id="rId40" Type="http://schemas.openxmlformats.org/officeDocument/2006/relationships/image" Target="../media/image51.png"/><Relationship Id="rId45" Type="http://schemas.openxmlformats.org/officeDocument/2006/relationships/image" Target="../media/image56.svg"/><Relationship Id="rId53" Type="http://schemas.openxmlformats.org/officeDocument/2006/relationships/image" Target="../media/image64.svg"/><Relationship Id="rId58" Type="http://schemas.openxmlformats.org/officeDocument/2006/relationships/image" Target="../media/image69.png"/><Relationship Id="rId66" Type="http://schemas.openxmlformats.org/officeDocument/2006/relationships/image" Target="../media/image77.png"/><Relationship Id="rId74" Type="http://schemas.openxmlformats.org/officeDocument/2006/relationships/image" Target="../media/image85.png"/><Relationship Id="rId5" Type="http://schemas.openxmlformats.org/officeDocument/2006/relationships/image" Target="../media/image16.svg"/><Relationship Id="rId61" Type="http://schemas.openxmlformats.org/officeDocument/2006/relationships/image" Target="../media/image72.svg"/><Relationship Id="rId19" Type="http://schemas.openxmlformats.org/officeDocument/2006/relationships/image" Target="../media/image30.svg"/><Relationship Id="rId14" Type="http://schemas.openxmlformats.org/officeDocument/2006/relationships/image" Target="../media/image25.png"/><Relationship Id="rId22" Type="http://schemas.openxmlformats.org/officeDocument/2006/relationships/image" Target="../media/image33.png"/><Relationship Id="rId27" Type="http://schemas.openxmlformats.org/officeDocument/2006/relationships/image" Target="../media/image38.svg"/><Relationship Id="rId30" Type="http://schemas.openxmlformats.org/officeDocument/2006/relationships/image" Target="../media/image41.png"/><Relationship Id="rId35" Type="http://schemas.openxmlformats.org/officeDocument/2006/relationships/image" Target="../media/image46.svg"/><Relationship Id="rId43" Type="http://schemas.openxmlformats.org/officeDocument/2006/relationships/image" Target="../media/image54.svg"/><Relationship Id="rId48" Type="http://schemas.openxmlformats.org/officeDocument/2006/relationships/image" Target="../media/image59.png"/><Relationship Id="rId56" Type="http://schemas.openxmlformats.org/officeDocument/2006/relationships/image" Target="../media/image67.png"/><Relationship Id="rId64" Type="http://schemas.openxmlformats.org/officeDocument/2006/relationships/image" Target="../media/image75.png"/><Relationship Id="rId69" Type="http://schemas.openxmlformats.org/officeDocument/2006/relationships/image" Target="../media/image80.svg"/><Relationship Id="rId77" Type="http://schemas.openxmlformats.org/officeDocument/2006/relationships/image" Target="../media/image88.svg"/><Relationship Id="rId8" Type="http://schemas.openxmlformats.org/officeDocument/2006/relationships/image" Target="../media/image19.png"/><Relationship Id="rId51" Type="http://schemas.openxmlformats.org/officeDocument/2006/relationships/image" Target="../media/image62.svg"/><Relationship Id="rId72" Type="http://schemas.openxmlformats.org/officeDocument/2006/relationships/image" Target="../media/image83.png"/><Relationship Id="rId3" Type="http://schemas.openxmlformats.org/officeDocument/2006/relationships/image" Target="../media/image14.svg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5" Type="http://schemas.openxmlformats.org/officeDocument/2006/relationships/image" Target="../media/image36.svg"/><Relationship Id="rId33" Type="http://schemas.openxmlformats.org/officeDocument/2006/relationships/image" Target="../media/image44.svg"/><Relationship Id="rId38" Type="http://schemas.openxmlformats.org/officeDocument/2006/relationships/image" Target="../media/image49.png"/><Relationship Id="rId46" Type="http://schemas.openxmlformats.org/officeDocument/2006/relationships/image" Target="../media/image57.png"/><Relationship Id="rId59" Type="http://schemas.openxmlformats.org/officeDocument/2006/relationships/image" Target="../media/image70.svg"/><Relationship Id="rId67" Type="http://schemas.openxmlformats.org/officeDocument/2006/relationships/image" Target="../media/image78.svg"/><Relationship Id="rId20" Type="http://schemas.openxmlformats.org/officeDocument/2006/relationships/image" Target="../media/image31.png"/><Relationship Id="rId41" Type="http://schemas.openxmlformats.org/officeDocument/2006/relationships/image" Target="../media/image52.svg"/><Relationship Id="rId54" Type="http://schemas.openxmlformats.org/officeDocument/2006/relationships/image" Target="../media/image65.png"/><Relationship Id="rId62" Type="http://schemas.openxmlformats.org/officeDocument/2006/relationships/image" Target="../media/image73.png"/><Relationship Id="rId70" Type="http://schemas.openxmlformats.org/officeDocument/2006/relationships/image" Target="../media/image81.png"/><Relationship Id="rId75" Type="http://schemas.openxmlformats.org/officeDocument/2006/relationships/image" Target="../media/image86.sv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7.png"/><Relationship Id="rId15" Type="http://schemas.openxmlformats.org/officeDocument/2006/relationships/image" Target="../media/image26.svg"/><Relationship Id="rId23" Type="http://schemas.openxmlformats.org/officeDocument/2006/relationships/image" Target="../media/image34.svg"/><Relationship Id="rId28" Type="http://schemas.openxmlformats.org/officeDocument/2006/relationships/image" Target="../media/image39.png"/><Relationship Id="rId36" Type="http://schemas.openxmlformats.org/officeDocument/2006/relationships/image" Target="../media/image47.png"/><Relationship Id="rId49" Type="http://schemas.openxmlformats.org/officeDocument/2006/relationships/image" Target="../media/image60.svg"/><Relationship Id="rId57" Type="http://schemas.openxmlformats.org/officeDocument/2006/relationships/image" Target="../media/image68.svg"/><Relationship Id="rId10" Type="http://schemas.openxmlformats.org/officeDocument/2006/relationships/image" Target="../media/image21.png"/><Relationship Id="rId31" Type="http://schemas.openxmlformats.org/officeDocument/2006/relationships/image" Target="../media/image42.svg"/><Relationship Id="rId44" Type="http://schemas.openxmlformats.org/officeDocument/2006/relationships/image" Target="../media/image55.png"/><Relationship Id="rId52" Type="http://schemas.openxmlformats.org/officeDocument/2006/relationships/image" Target="../media/image63.png"/><Relationship Id="rId60" Type="http://schemas.openxmlformats.org/officeDocument/2006/relationships/image" Target="../media/image71.png"/><Relationship Id="rId65" Type="http://schemas.openxmlformats.org/officeDocument/2006/relationships/image" Target="../media/image76.svg"/><Relationship Id="rId73" Type="http://schemas.openxmlformats.org/officeDocument/2006/relationships/image" Target="../media/image84.svg"/><Relationship Id="rId4" Type="http://schemas.openxmlformats.org/officeDocument/2006/relationships/image" Target="../media/image15.png"/><Relationship Id="rId9" Type="http://schemas.openxmlformats.org/officeDocument/2006/relationships/image" Target="../media/image20.svg"/><Relationship Id="rId13" Type="http://schemas.openxmlformats.org/officeDocument/2006/relationships/image" Target="../media/image24.svg"/><Relationship Id="rId18" Type="http://schemas.openxmlformats.org/officeDocument/2006/relationships/image" Target="../media/image29.png"/><Relationship Id="rId39" Type="http://schemas.openxmlformats.org/officeDocument/2006/relationships/image" Target="../media/image50.svg"/><Relationship Id="rId34" Type="http://schemas.openxmlformats.org/officeDocument/2006/relationships/image" Target="../media/image45.png"/><Relationship Id="rId50" Type="http://schemas.openxmlformats.org/officeDocument/2006/relationships/image" Target="../media/image61.png"/><Relationship Id="rId55" Type="http://schemas.openxmlformats.org/officeDocument/2006/relationships/image" Target="../media/image66.svg"/><Relationship Id="rId76" Type="http://schemas.openxmlformats.org/officeDocument/2006/relationships/image" Target="../media/image87.png"/><Relationship Id="rId7" Type="http://schemas.openxmlformats.org/officeDocument/2006/relationships/image" Target="../media/image18.svg"/><Relationship Id="rId71" Type="http://schemas.openxmlformats.org/officeDocument/2006/relationships/image" Target="../media/image82.svg"/><Relationship Id="rId2" Type="http://schemas.openxmlformats.org/officeDocument/2006/relationships/image" Target="../media/image13.png"/><Relationship Id="rId29" Type="http://schemas.openxmlformats.org/officeDocument/2006/relationships/image" Target="../media/image40.svg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92.sv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91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image" Target="../media/image90.emf"/><Relationship Id="rId5" Type="http://schemas.openxmlformats.org/officeDocument/2006/relationships/tags" Target="../tags/tag28.xml"/><Relationship Id="rId10" Type="http://schemas.openxmlformats.org/officeDocument/2006/relationships/oleObject" Target="../embeddings/oleObject5.bin"/><Relationship Id="rId4" Type="http://schemas.openxmlformats.org/officeDocument/2006/relationships/tags" Target="../tags/tag27.xml"/><Relationship Id="rId9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7.png"/><Relationship Id="rId21" Type="http://schemas.openxmlformats.org/officeDocument/2006/relationships/image" Target="../media/image32.svg"/><Relationship Id="rId42" Type="http://schemas.openxmlformats.org/officeDocument/2006/relationships/image" Target="../media/image53.png"/><Relationship Id="rId47" Type="http://schemas.openxmlformats.org/officeDocument/2006/relationships/image" Target="../media/image58.svg"/><Relationship Id="rId63" Type="http://schemas.openxmlformats.org/officeDocument/2006/relationships/image" Target="../media/image74.svg"/><Relationship Id="rId68" Type="http://schemas.openxmlformats.org/officeDocument/2006/relationships/image" Target="../media/image79.png"/><Relationship Id="rId16" Type="http://schemas.openxmlformats.org/officeDocument/2006/relationships/image" Target="../media/image27.png"/><Relationship Id="rId11" Type="http://schemas.openxmlformats.org/officeDocument/2006/relationships/image" Target="../media/image22.svg"/><Relationship Id="rId24" Type="http://schemas.openxmlformats.org/officeDocument/2006/relationships/image" Target="../media/image35.png"/><Relationship Id="rId32" Type="http://schemas.openxmlformats.org/officeDocument/2006/relationships/image" Target="../media/image43.png"/><Relationship Id="rId37" Type="http://schemas.openxmlformats.org/officeDocument/2006/relationships/image" Target="../media/image48.svg"/><Relationship Id="rId40" Type="http://schemas.openxmlformats.org/officeDocument/2006/relationships/image" Target="../media/image51.png"/><Relationship Id="rId45" Type="http://schemas.openxmlformats.org/officeDocument/2006/relationships/image" Target="../media/image56.svg"/><Relationship Id="rId53" Type="http://schemas.openxmlformats.org/officeDocument/2006/relationships/image" Target="../media/image64.svg"/><Relationship Id="rId58" Type="http://schemas.openxmlformats.org/officeDocument/2006/relationships/image" Target="../media/image69.png"/><Relationship Id="rId66" Type="http://schemas.openxmlformats.org/officeDocument/2006/relationships/image" Target="../media/image77.png"/><Relationship Id="rId74" Type="http://schemas.openxmlformats.org/officeDocument/2006/relationships/image" Target="../media/image85.png"/><Relationship Id="rId5" Type="http://schemas.openxmlformats.org/officeDocument/2006/relationships/image" Target="../media/image16.svg"/><Relationship Id="rId61" Type="http://schemas.openxmlformats.org/officeDocument/2006/relationships/image" Target="../media/image72.svg"/><Relationship Id="rId19" Type="http://schemas.openxmlformats.org/officeDocument/2006/relationships/image" Target="../media/image30.svg"/><Relationship Id="rId14" Type="http://schemas.openxmlformats.org/officeDocument/2006/relationships/image" Target="../media/image25.png"/><Relationship Id="rId22" Type="http://schemas.openxmlformats.org/officeDocument/2006/relationships/image" Target="../media/image33.png"/><Relationship Id="rId27" Type="http://schemas.openxmlformats.org/officeDocument/2006/relationships/image" Target="../media/image38.svg"/><Relationship Id="rId30" Type="http://schemas.openxmlformats.org/officeDocument/2006/relationships/image" Target="../media/image41.png"/><Relationship Id="rId35" Type="http://schemas.openxmlformats.org/officeDocument/2006/relationships/image" Target="../media/image46.svg"/><Relationship Id="rId43" Type="http://schemas.openxmlformats.org/officeDocument/2006/relationships/image" Target="../media/image54.svg"/><Relationship Id="rId48" Type="http://schemas.openxmlformats.org/officeDocument/2006/relationships/image" Target="../media/image59.png"/><Relationship Id="rId56" Type="http://schemas.openxmlformats.org/officeDocument/2006/relationships/image" Target="../media/image67.png"/><Relationship Id="rId64" Type="http://schemas.openxmlformats.org/officeDocument/2006/relationships/image" Target="../media/image75.png"/><Relationship Id="rId69" Type="http://schemas.openxmlformats.org/officeDocument/2006/relationships/image" Target="../media/image80.svg"/><Relationship Id="rId77" Type="http://schemas.openxmlformats.org/officeDocument/2006/relationships/image" Target="../media/image88.svg"/><Relationship Id="rId8" Type="http://schemas.openxmlformats.org/officeDocument/2006/relationships/image" Target="../media/image19.png"/><Relationship Id="rId51" Type="http://schemas.openxmlformats.org/officeDocument/2006/relationships/image" Target="../media/image62.svg"/><Relationship Id="rId72" Type="http://schemas.openxmlformats.org/officeDocument/2006/relationships/image" Target="../media/image83.png"/><Relationship Id="rId3" Type="http://schemas.openxmlformats.org/officeDocument/2006/relationships/image" Target="../media/image14.svg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5" Type="http://schemas.openxmlformats.org/officeDocument/2006/relationships/image" Target="../media/image36.svg"/><Relationship Id="rId33" Type="http://schemas.openxmlformats.org/officeDocument/2006/relationships/image" Target="../media/image44.svg"/><Relationship Id="rId38" Type="http://schemas.openxmlformats.org/officeDocument/2006/relationships/image" Target="../media/image49.png"/><Relationship Id="rId46" Type="http://schemas.openxmlformats.org/officeDocument/2006/relationships/image" Target="../media/image57.png"/><Relationship Id="rId59" Type="http://schemas.openxmlformats.org/officeDocument/2006/relationships/image" Target="../media/image70.svg"/><Relationship Id="rId67" Type="http://schemas.openxmlformats.org/officeDocument/2006/relationships/image" Target="../media/image78.svg"/><Relationship Id="rId20" Type="http://schemas.openxmlformats.org/officeDocument/2006/relationships/image" Target="../media/image31.png"/><Relationship Id="rId41" Type="http://schemas.openxmlformats.org/officeDocument/2006/relationships/image" Target="../media/image52.svg"/><Relationship Id="rId54" Type="http://schemas.openxmlformats.org/officeDocument/2006/relationships/image" Target="../media/image65.png"/><Relationship Id="rId62" Type="http://schemas.openxmlformats.org/officeDocument/2006/relationships/image" Target="../media/image73.png"/><Relationship Id="rId70" Type="http://schemas.openxmlformats.org/officeDocument/2006/relationships/image" Target="../media/image81.png"/><Relationship Id="rId75" Type="http://schemas.openxmlformats.org/officeDocument/2006/relationships/image" Target="../media/image86.sv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7.png"/><Relationship Id="rId15" Type="http://schemas.openxmlformats.org/officeDocument/2006/relationships/image" Target="../media/image26.svg"/><Relationship Id="rId23" Type="http://schemas.openxmlformats.org/officeDocument/2006/relationships/image" Target="../media/image34.svg"/><Relationship Id="rId28" Type="http://schemas.openxmlformats.org/officeDocument/2006/relationships/image" Target="../media/image39.png"/><Relationship Id="rId36" Type="http://schemas.openxmlformats.org/officeDocument/2006/relationships/image" Target="../media/image47.png"/><Relationship Id="rId49" Type="http://schemas.openxmlformats.org/officeDocument/2006/relationships/image" Target="../media/image60.svg"/><Relationship Id="rId57" Type="http://schemas.openxmlformats.org/officeDocument/2006/relationships/image" Target="../media/image68.svg"/><Relationship Id="rId10" Type="http://schemas.openxmlformats.org/officeDocument/2006/relationships/image" Target="../media/image21.png"/><Relationship Id="rId31" Type="http://schemas.openxmlformats.org/officeDocument/2006/relationships/image" Target="../media/image42.svg"/><Relationship Id="rId44" Type="http://schemas.openxmlformats.org/officeDocument/2006/relationships/image" Target="../media/image55.png"/><Relationship Id="rId52" Type="http://schemas.openxmlformats.org/officeDocument/2006/relationships/image" Target="../media/image63.png"/><Relationship Id="rId60" Type="http://schemas.openxmlformats.org/officeDocument/2006/relationships/image" Target="../media/image71.png"/><Relationship Id="rId65" Type="http://schemas.openxmlformats.org/officeDocument/2006/relationships/image" Target="../media/image76.svg"/><Relationship Id="rId73" Type="http://schemas.openxmlformats.org/officeDocument/2006/relationships/image" Target="../media/image84.svg"/><Relationship Id="rId4" Type="http://schemas.openxmlformats.org/officeDocument/2006/relationships/image" Target="../media/image15.png"/><Relationship Id="rId9" Type="http://schemas.openxmlformats.org/officeDocument/2006/relationships/image" Target="../media/image20.svg"/><Relationship Id="rId13" Type="http://schemas.openxmlformats.org/officeDocument/2006/relationships/image" Target="../media/image24.svg"/><Relationship Id="rId18" Type="http://schemas.openxmlformats.org/officeDocument/2006/relationships/image" Target="../media/image29.png"/><Relationship Id="rId39" Type="http://schemas.openxmlformats.org/officeDocument/2006/relationships/image" Target="../media/image50.svg"/><Relationship Id="rId34" Type="http://schemas.openxmlformats.org/officeDocument/2006/relationships/image" Target="../media/image45.png"/><Relationship Id="rId50" Type="http://schemas.openxmlformats.org/officeDocument/2006/relationships/image" Target="../media/image61.png"/><Relationship Id="rId55" Type="http://schemas.openxmlformats.org/officeDocument/2006/relationships/image" Target="../media/image66.svg"/><Relationship Id="rId76" Type="http://schemas.openxmlformats.org/officeDocument/2006/relationships/image" Target="../media/image87.png"/><Relationship Id="rId7" Type="http://schemas.openxmlformats.org/officeDocument/2006/relationships/image" Target="../media/image18.svg"/><Relationship Id="rId71" Type="http://schemas.openxmlformats.org/officeDocument/2006/relationships/image" Target="../media/image82.svg"/><Relationship Id="rId2" Type="http://schemas.openxmlformats.org/officeDocument/2006/relationships/image" Target="../media/image13.png"/><Relationship Id="rId29" Type="http://schemas.openxmlformats.org/officeDocument/2006/relationships/image" Target="../media/image40.sv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image" Target="../media/image92.svg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image" Target="../media/image91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image" Target="../media/image90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6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emf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7.png"/><Relationship Id="rId21" Type="http://schemas.openxmlformats.org/officeDocument/2006/relationships/image" Target="../media/image32.svg"/><Relationship Id="rId42" Type="http://schemas.openxmlformats.org/officeDocument/2006/relationships/image" Target="../media/image53.png"/><Relationship Id="rId47" Type="http://schemas.openxmlformats.org/officeDocument/2006/relationships/image" Target="../media/image58.svg"/><Relationship Id="rId63" Type="http://schemas.openxmlformats.org/officeDocument/2006/relationships/image" Target="../media/image74.svg"/><Relationship Id="rId68" Type="http://schemas.openxmlformats.org/officeDocument/2006/relationships/image" Target="../media/image79.png"/><Relationship Id="rId16" Type="http://schemas.openxmlformats.org/officeDocument/2006/relationships/image" Target="../media/image27.png"/><Relationship Id="rId11" Type="http://schemas.openxmlformats.org/officeDocument/2006/relationships/image" Target="../media/image22.svg"/><Relationship Id="rId24" Type="http://schemas.openxmlformats.org/officeDocument/2006/relationships/image" Target="../media/image35.png"/><Relationship Id="rId32" Type="http://schemas.openxmlformats.org/officeDocument/2006/relationships/image" Target="../media/image43.png"/><Relationship Id="rId37" Type="http://schemas.openxmlformats.org/officeDocument/2006/relationships/image" Target="../media/image48.svg"/><Relationship Id="rId40" Type="http://schemas.openxmlformats.org/officeDocument/2006/relationships/image" Target="../media/image51.png"/><Relationship Id="rId45" Type="http://schemas.openxmlformats.org/officeDocument/2006/relationships/image" Target="../media/image56.svg"/><Relationship Id="rId53" Type="http://schemas.openxmlformats.org/officeDocument/2006/relationships/image" Target="../media/image64.svg"/><Relationship Id="rId58" Type="http://schemas.openxmlformats.org/officeDocument/2006/relationships/image" Target="../media/image69.png"/><Relationship Id="rId66" Type="http://schemas.openxmlformats.org/officeDocument/2006/relationships/image" Target="../media/image77.png"/><Relationship Id="rId74" Type="http://schemas.openxmlformats.org/officeDocument/2006/relationships/image" Target="../media/image85.png"/><Relationship Id="rId5" Type="http://schemas.openxmlformats.org/officeDocument/2006/relationships/image" Target="../media/image16.svg"/><Relationship Id="rId61" Type="http://schemas.openxmlformats.org/officeDocument/2006/relationships/image" Target="../media/image72.svg"/><Relationship Id="rId19" Type="http://schemas.openxmlformats.org/officeDocument/2006/relationships/image" Target="../media/image30.svg"/><Relationship Id="rId14" Type="http://schemas.openxmlformats.org/officeDocument/2006/relationships/image" Target="../media/image25.png"/><Relationship Id="rId22" Type="http://schemas.openxmlformats.org/officeDocument/2006/relationships/image" Target="../media/image33.png"/><Relationship Id="rId27" Type="http://schemas.openxmlformats.org/officeDocument/2006/relationships/image" Target="../media/image38.svg"/><Relationship Id="rId30" Type="http://schemas.openxmlformats.org/officeDocument/2006/relationships/image" Target="../media/image41.png"/><Relationship Id="rId35" Type="http://schemas.openxmlformats.org/officeDocument/2006/relationships/image" Target="../media/image46.svg"/><Relationship Id="rId43" Type="http://schemas.openxmlformats.org/officeDocument/2006/relationships/image" Target="../media/image54.svg"/><Relationship Id="rId48" Type="http://schemas.openxmlformats.org/officeDocument/2006/relationships/image" Target="../media/image59.png"/><Relationship Id="rId56" Type="http://schemas.openxmlformats.org/officeDocument/2006/relationships/image" Target="../media/image67.png"/><Relationship Id="rId64" Type="http://schemas.openxmlformats.org/officeDocument/2006/relationships/image" Target="../media/image75.png"/><Relationship Id="rId69" Type="http://schemas.openxmlformats.org/officeDocument/2006/relationships/image" Target="../media/image80.svg"/><Relationship Id="rId77" Type="http://schemas.openxmlformats.org/officeDocument/2006/relationships/image" Target="../media/image88.svg"/><Relationship Id="rId8" Type="http://schemas.openxmlformats.org/officeDocument/2006/relationships/image" Target="../media/image19.png"/><Relationship Id="rId51" Type="http://schemas.openxmlformats.org/officeDocument/2006/relationships/image" Target="../media/image62.svg"/><Relationship Id="rId72" Type="http://schemas.openxmlformats.org/officeDocument/2006/relationships/image" Target="../media/image83.png"/><Relationship Id="rId3" Type="http://schemas.openxmlformats.org/officeDocument/2006/relationships/image" Target="../media/image14.svg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5" Type="http://schemas.openxmlformats.org/officeDocument/2006/relationships/image" Target="../media/image36.svg"/><Relationship Id="rId33" Type="http://schemas.openxmlformats.org/officeDocument/2006/relationships/image" Target="../media/image44.svg"/><Relationship Id="rId38" Type="http://schemas.openxmlformats.org/officeDocument/2006/relationships/image" Target="../media/image49.png"/><Relationship Id="rId46" Type="http://schemas.openxmlformats.org/officeDocument/2006/relationships/image" Target="../media/image57.png"/><Relationship Id="rId59" Type="http://schemas.openxmlformats.org/officeDocument/2006/relationships/image" Target="../media/image70.svg"/><Relationship Id="rId67" Type="http://schemas.openxmlformats.org/officeDocument/2006/relationships/image" Target="../media/image78.svg"/><Relationship Id="rId20" Type="http://schemas.openxmlformats.org/officeDocument/2006/relationships/image" Target="../media/image31.png"/><Relationship Id="rId41" Type="http://schemas.openxmlformats.org/officeDocument/2006/relationships/image" Target="../media/image52.svg"/><Relationship Id="rId54" Type="http://schemas.openxmlformats.org/officeDocument/2006/relationships/image" Target="../media/image65.png"/><Relationship Id="rId62" Type="http://schemas.openxmlformats.org/officeDocument/2006/relationships/image" Target="../media/image73.png"/><Relationship Id="rId70" Type="http://schemas.openxmlformats.org/officeDocument/2006/relationships/image" Target="../media/image81.png"/><Relationship Id="rId75" Type="http://schemas.openxmlformats.org/officeDocument/2006/relationships/image" Target="../media/image86.sv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7.png"/><Relationship Id="rId15" Type="http://schemas.openxmlformats.org/officeDocument/2006/relationships/image" Target="../media/image26.svg"/><Relationship Id="rId23" Type="http://schemas.openxmlformats.org/officeDocument/2006/relationships/image" Target="../media/image34.svg"/><Relationship Id="rId28" Type="http://schemas.openxmlformats.org/officeDocument/2006/relationships/image" Target="../media/image39.png"/><Relationship Id="rId36" Type="http://schemas.openxmlformats.org/officeDocument/2006/relationships/image" Target="../media/image47.png"/><Relationship Id="rId49" Type="http://schemas.openxmlformats.org/officeDocument/2006/relationships/image" Target="../media/image60.svg"/><Relationship Id="rId57" Type="http://schemas.openxmlformats.org/officeDocument/2006/relationships/image" Target="../media/image68.svg"/><Relationship Id="rId10" Type="http://schemas.openxmlformats.org/officeDocument/2006/relationships/image" Target="../media/image21.png"/><Relationship Id="rId31" Type="http://schemas.openxmlformats.org/officeDocument/2006/relationships/image" Target="../media/image42.svg"/><Relationship Id="rId44" Type="http://schemas.openxmlformats.org/officeDocument/2006/relationships/image" Target="../media/image55.png"/><Relationship Id="rId52" Type="http://schemas.openxmlformats.org/officeDocument/2006/relationships/image" Target="../media/image63.png"/><Relationship Id="rId60" Type="http://schemas.openxmlformats.org/officeDocument/2006/relationships/image" Target="../media/image71.png"/><Relationship Id="rId65" Type="http://schemas.openxmlformats.org/officeDocument/2006/relationships/image" Target="../media/image76.svg"/><Relationship Id="rId73" Type="http://schemas.openxmlformats.org/officeDocument/2006/relationships/image" Target="../media/image84.svg"/><Relationship Id="rId4" Type="http://schemas.openxmlformats.org/officeDocument/2006/relationships/image" Target="../media/image15.png"/><Relationship Id="rId9" Type="http://schemas.openxmlformats.org/officeDocument/2006/relationships/image" Target="../media/image20.svg"/><Relationship Id="rId13" Type="http://schemas.openxmlformats.org/officeDocument/2006/relationships/image" Target="../media/image24.svg"/><Relationship Id="rId18" Type="http://schemas.openxmlformats.org/officeDocument/2006/relationships/image" Target="../media/image29.png"/><Relationship Id="rId39" Type="http://schemas.openxmlformats.org/officeDocument/2006/relationships/image" Target="../media/image50.svg"/><Relationship Id="rId34" Type="http://schemas.openxmlformats.org/officeDocument/2006/relationships/image" Target="../media/image45.png"/><Relationship Id="rId50" Type="http://schemas.openxmlformats.org/officeDocument/2006/relationships/image" Target="../media/image61.png"/><Relationship Id="rId55" Type="http://schemas.openxmlformats.org/officeDocument/2006/relationships/image" Target="../media/image66.svg"/><Relationship Id="rId76" Type="http://schemas.openxmlformats.org/officeDocument/2006/relationships/image" Target="../media/image87.png"/><Relationship Id="rId7" Type="http://schemas.openxmlformats.org/officeDocument/2006/relationships/image" Target="../media/image18.svg"/><Relationship Id="rId71" Type="http://schemas.openxmlformats.org/officeDocument/2006/relationships/image" Target="../media/image82.svg"/><Relationship Id="rId2" Type="http://schemas.openxmlformats.org/officeDocument/2006/relationships/image" Target="../media/image13.png"/><Relationship Id="rId29" Type="http://schemas.openxmlformats.org/officeDocument/2006/relationships/image" Target="../media/image40.svg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FF6C3A47-D24D-437C-8C58-6578B753805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bIns="828000" anchor="ctr">
            <a:normAutofit/>
          </a:bodyPr>
          <a:lstStyle>
            <a:lvl1pPr algn="ctr">
              <a:defRPr sz="1200"/>
            </a:lvl1pPr>
          </a:lstStyle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2B800B8-C9F6-4309-AA35-4FE3E027486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766764" y="4156294"/>
            <a:ext cx="7422179" cy="844810"/>
          </a:xfrm>
          <a:solidFill>
            <a:schemeClr val="tx1"/>
          </a:solidFill>
        </p:spPr>
        <p:txBody>
          <a:bodyPr wrap="none" lIns="216000" tIns="144000" rIns="144000" bIns="144000" anchor="ctr">
            <a:sp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63F43E0-0B72-4420-8EE0-463163215CED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766762" y="5001104"/>
            <a:ext cx="5332825" cy="660144"/>
          </a:xfrm>
          <a:solidFill>
            <a:schemeClr val="tx1"/>
          </a:solidFill>
        </p:spPr>
        <p:txBody>
          <a:bodyPr wrap="none" lIns="216000" tIns="144000" rIns="144000" bIns="144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2400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0" indent="0" algn="l">
              <a:spcBef>
                <a:spcPts val="0"/>
              </a:spcBef>
              <a:buNone/>
              <a:defRPr sz="2400" i="1">
                <a:solidFill>
                  <a:schemeClr val="bg1"/>
                </a:solidFill>
                <a:latin typeface="Georgia" panose="02040502050405020303" pitchFamily="18" charset="0"/>
              </a:defRPr>
            </a:lvl2pPr>
            <a:lvl3pPr marL="0" indent="0" algn="l">
              <a:spcBef>
                <a:spcPts val="0"/>
              </a:spcBef>
              <a:buNone/>
              <a:defRPr sz="2400" i="1">
                <a:solidFill>
                  <a:schemeClr val="bg1"/>
                </a:solidFill>
                <a:latin typeface="Georgia" panose="02040502050405020303" pitchFamily="18" charset="0"/>
              </a:defRPr>
            </a:lvl3pPr>
            <a:lvl4pPr marL="0" indent="0" algn="l">
              <a:spcBef>
                <a:spcPts val="0"/>
              </a:spcBef>
              <a:buNone/>
              <a:defRPr sz="2400" i="1">
                <a:solidFill>
                  <a:schemeClr val="bg1"/>
                </a:solidFill>
                <a:latin typeface="Georgia" panose="02040502050405020303" pitchFamily="18" charset="0"/>
              </a:defRPr>
            </a:lvl4pPr>
            <a:lvl5pPr marL="0" indent="0" algn="l">
              <a:spcBef>
                <a:spcPts val="0"/>
              </a:spcBef>
              <a:buNone/>
              <a:defRPr sz="2400" i="1">
                <a:solidFill>
                  <a:schemeClr val="bg1"/>
                </a:solidFill>
                <a:latin typeface="Georgia" panose="02040502050405020303" pitchFamily="18" charset="0"/>
              </a:defRPr>
            </a:lvl5pPr>
            <a:lvl6pPr marL="0" indent="0" algn="l">
              <a:spcBef>
                <a:spcPts val="0"/>
              </a:spcBef>
              <a:buNone/>
              <a:defRPr sz="2400" i="1">
                <a:solidFill>
                  <a:schemeClr val="bg1"/>
                </a:solidFill>
                <a:latin typeface="Georgia" panose="02040502050405020303" pitchFamily="18" charset="0"/>
              </a:defRPr>
            </a:lvl6pPr>
            <a:lvl7pPr marL="0" indent="0" algn="l">
              <a:spcBef>
                <a:spcPts val="0"/>
              </a:spcBef>
              <a:buNone/>
              <a:defRPr sz="2400" i="1">
                <a:solidFill>
                  <a:schemeClr val="bg1"/>
                </a:solidFill>
                <a:latin typeface="Georgia" panose="02040502050405020303" pitchFamily="18" charset="0"/>
              </a:defRPr>
            </a:lvl7pPr>
            <a:lvl8pPr marL="0" indent="0" algn="l">
              <a:spcBef>
                <a:spcPts val="0"/>
              </a:spcBef>
              <a:buNone/>
              <a:defRPr sz="2400" i="1">
                <a:solidFill>
                  <a:schemeClr val="bg1"/>
                </a:solidFill>
                <a:latin typeface="Georgia" panose="02040502050405020303" pitchFamily="18" charset="0"/>
              </a:defRPr>
            </a:lvl8pPr>
            <a:lvl9pPr marL="0" indent="0" algn="l">
              <a:spcBef>
                <a:spcPts val="0"/>
              </a:spcBef>
              <a:buNone/>
              <a:defRPr sz="2400" i="1">
                <a:solidFill>
                  <a:schemeClr val="bg1"/>
                </a:solidFill>
                <a:latin typeface="Georgia" panose="02040502050405020303" pitchFamily="18" charset="0"/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ECD1BD2-75F4-438E-8FD4-90F4AA8F7F1E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 bwMode="gray">
          <a:xfrm>
            <a:off x="8760592" y="764704"/>
            <a:ext cx="2664000" cy="78628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solidFill>
              <a:schemeClr val="tx2">
                <a:alpha val="0"/>
              </a:schemeClr>
            </a:solidFill>
          </a:ln>
        </p:spPr>
        <p:txBody>
          <a:bodyPr/>
          <a:lstStyle/>
          <a:p>
            <a:pPr lvl="0"/>
            <a:r>
              <a:rPr lang="de-DE"/>
              <a:t> 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3A9AEAA-16C3-41C3-A7B7-1098994EE40E}"/>
              </a:ext>
            </a:extLst>
          </p:cNvPr>
          <p:cNvSpPr/>
          <p:nvPr userDrawn="1"/>
        </p:nvSpPr>
        <p:spPr bwMode="gray">
          <a:xfrm>
            <a:off x="767408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4DBD4BB-292B-4760-BF40-DA8D56FA3AE2}"/>
              </a:ext>
            </a:extLst>
          </p:cNvPr>
          <p:cNvSpPr/>
          <p:nvPr userDrawn="1"/>
        </p:nvSpPr>
        <p:spPr bwMode="gray">
          <a:xfrm>
            <a:off x="2134960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C5BAC43-B9EA-41CE-BA8E-88265BBED7D3}"/>
              </a:ext>
            </a:extLst>
          </p:cNvPr>
          <p:cNvSpPr/>
          <p:nvPr userDrawn="1"/>
        </p:nvSpPr>
        <p:spPr bwMode="gray">
          <a:xfrm>
            <a:off x="3503232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15B8B3A-A4F0-4607-BBAE-C29903ACEC5B}"/>
              </a:ext>
            </a:extLst>
          </p:cNvPr>
          <p:cNvSpPr/>
          <p:nvPr userDrawn="1"/>
        </p:nvSpPr>
        <p:spPr bwMode="gray">
          <a:xfrm>
            <a:off x="4871504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51682A4-D503-4705-BEFD-A76B237EE00B}"/>
              </a:ext>
            </a:extLst>
          </p:cNvPr>
          <p:cNvSpPr/>
          <p:nvPr userDrawn="1"/>
        </p:nvSpPr>
        <p:spPr bwMode="gray">
          <a:xfrm>
            <a:off x="6239776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B701514-3F93-4B11-A17D-7C51BA025700}"/>
              </a:ext>
            </a:extLst>
          </p:cNvPr>
          <p:cNvSpPr/>
          <p:nvPr userDrawn="1"/>
        </p:nvSpPr>
        <p:spPr bwMode="gray">
          <a:xfrm>
            <a:off x="7608048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A0A138B-49BC-49A3-8D90-059C30468FDB}"/>
              </a:ext>
            </a:extLst>
          </p:cNvPr>
          <p:cNvSpPr/>
          <p:nvPr userDrawn="1"/>
        </p:nvSpPr>
        <p:spPr bwMode="gray">
          <a:xfrm>
            <a:off x="8976320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B5AA852F-80E1-4C3A-8BCD-E30CE5D37D70}"/>
              </a:ext>
            </a:extLst>
          </p:cNvPr>
          <p:cNvSpPr/>
          <p:nvPr userDrawn="1"/>
        </p:nvSpPr>
        <p:spPr bwMode="gray">
          <a:xfrm>
            <a:off x="10344592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7154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3">
          <p15:clr>
            <a:srgbClr val="5ACBF0"/>
          </p15:clr>
        </p15:guide>
        <p15:guide id="2" pos="7197">
          <p15:clr>
            <a:srgbClr val="5ACBF0"/>
          </p15:clr>
        </p15:guide>
        <p15:guide id="3" orient="horz" pos="3838" userDrawn="1">
          <p15:clr>
            <a:srgbClr val="5ACBF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Rechteck 236">
            <a:extLst>
              <a:ext uri="{FF2B5EF4-FFF2-40B4-BE49-F238E27FC236}">
                <a16:creationId xmlns:a16="http://schemas.microsoft.com/office/drawing/2014/main" id="{AB960050-EE5E-4B7F-9100-A8DE2BDA2CEC}"/>
              </a:ext>
            </a:extLst>
          </p:cNvPr>
          <p:cNvSpPr/>
          <p:nvPr userDrawn="1"/>
        </p:nvSpPr>
        <p:spPr bwMode="gray">
          <a:xfrm>
            <a:off x="7608888" y="0"/>
            <a:ext cx="4583112" cy="6858000"/>
          </a:xfrm>
          <a:prstGeom prst="rect">
            <a:avLst/>
          </a:prstGeom>
          <a:pattFill prst="wdUpDiag">
            <a:fgClr>
              <a:schemeClr val="bg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17BBB15-227F-45AD-B6FB-4F74D670DA84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766764" y="2133599"/>
            <a:ext cx="6553200" cy="3959226"/>
          </a:xfrm>
        </p:spPr>
        <p:txBody>
          <a:bodyPr/>
          <a:lstStyle/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FFC7DAC-89A5-4B89-BC9A-1717238D6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16F491-7036-4E36-99B9-2ACCC7252B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D75F291-B186-437B-9BD4-204251E78F38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7F6D6D5-AAF7-451F-93D6-110A6B6E0B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67408" y="1196752"/>
            <a:ext cx="6552555" cy="360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1pPr>
            <a:lvl2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2pPr>
            <a:lvl3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3pPr>
            <a:lvl4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9pPr>
          </a:lstStyle>
          <a:p>
            <a:pPr lvl="0"/>
            <a:r>
              <a:rPr lang="en-GB" err="1"/>
              <a:t>Optionale</a:t>
            </a:r>
            <a:r>
              <a:rPr lang="en-GB"/>
              <a:t> Sub-Headline</a:t>
            </a:r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2BD7DB23-9931-42B8-9610-9F7AB2C00D0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766764" y="260752"/>
            <a:ext cx="6553200" cy="936000"/>
          </a:xfrm>
        </p:spPr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pic>
        <p:nvPicPr>
          <p:cNvPr id="238" name="Grafik 237">
            <a:extLst>
              <a:ext uri="{FF2B5EF4-FFF2-40B4-BE49-F238E27FC236}">
                <a16:creationId xmlns:a16="http://schemas.microsoft.com/office/drawing/2014/main" id="{4591416F-616B-43EB-98A3-47804B2F5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9840592" y="788974"/>
            <a:ext cx="1584000" cy="46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602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 userDrawn="1">
          <p15:clr>
            <a:srgbClr val="5ACBF0"/>
          </p15:clr>
        </p15:guide>
        <p15:guide id="2" orient="horz" pos="3838" userDrawn="1">
          <p15:clr>
            <a:srgbClr val="5ACBF0"/>
          </p15:clr>
        </p15:guide>
        <p15:guide id="3" pos="7197" userDrawn="1">
          <p15:clr>
            <a:srgbClr val="5ACBF0"/>
          </p15:clr>
        </p15:guide>
        <p15:guide id="4" pos="483" userDrawn="1">
          <p15:clr>
            <a:srgbClr val="5ACBF0"/>
          </p15:clr>
        </p15:guide>
        <p15:guide id="5" pos="4793" userDrawn="1">
          <p15:clr>
            <a:srgbClr val="5ACBF0"/>
          </p15:clr>
        </p15:guide>
        <p15:guide id="6" pos="4611" userDrawn="1">
          <p15:clr>
            <a:srgbClr val="5ACBF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+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DF379BB-6F1E-48A1-82A2-A4C682BB95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90" y="1624013"/>
            <a:ext cx="10514012" cy="41449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28389616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380651991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2BE1EF-4549-4392-A069-4A855D1DC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2099859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06" imgH="306" progId="TCLayout.ActiveDocument.1">
                  <p:embed/>
                </p:oleObj>
              </mc:Choice>
              <mc:Fallback>
                <p:oleObj name="think-cell Folie" r:id="rId10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2BE1EF-4549-4392-A069-4A855D1DC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" name="Graphic 162">
            <a:extLst>
              <a:ext uri="{FF2B5EF4-FFF2-40B4-BE49-F238E27FC236}">
                <a16:creationId xmlns:a16="http://schemas.microsoft.com/office/drawing/2014/main" id="{1BA2B2E2-D574-4136-AC8E-1A4AE34A4EF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gray">
          <a:xfrm>
            <a:off x="623393" y="1160463"/>
            <a:ext cx="7662811" cy="4676116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0A788415-4FB8-4D5E-ABE7-08B6C31D6AFA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 bwMode="gray">
          <a:xfrm>
            <a:off x="5799773" y="5782337"/>
            <a:ext cx="1869416" cy="80683"/>
            <a:chOff x="9918885" y="5769260"/>
            <a:chExt cx="1568735" cy="67705"/>
          </a:xfrm>
        </p:grpSpPr>
        <p:sp>
          <p:nvSpPr>
            <p:cNvPr id="90" name="Graphic 8">
              <a:extLst>
                <a:ext uri="{FF2B5EF4-FFF2-40B4-BE49-F238E27FC236}">
                  <a16:creationId xmlns:a16="http://schemas.microsoft.com/office/drawing/2014/main" id="{C51955D0-F746-4E0D-9D2E-46995CCE6489}"/>
                </a:ext>
              </a:extLst>
            </p:cNvPr>
            <p:cNvSpPr/>
            <p:nvPr/>
          </p:nvSpPr>
          <p:spPr bwMode="gray">
            <a:xfrm>
              <a:off x="10510440" y="5769260"/>
              <a:ext cx="385624" cy="67705"/>
            </a:xfrm>
            <a:custGeom>
              <a:avLst/>
              <a:gdLst>
                <a:gd name="connsiteX0" fmla="*/ 343134 w 385624"/>
                <a:gd name="connsiteY0" fmla="*/ 74260 h 74475"/>
                <a:gd name="connsiteX1" fmla="*/ 43380 w 385624"/>
                <a:gd name="connsiteY1" fmla="*/ 74260 h 74475"/>
                <a:gd name="connsiteX2" fmla="*/ 445 w 385624"/>
                <a:gd name="connsiteY2" fmla="*/ 31855 h 74475"/>
                <a:gd name="connsiteX3" fmla="*/ 445 w 385624"/>
                <a:gd name="connsiteY3" fmla="*/ 31590 h 74475"/>
                <a:gd name="connsiteX4" fmla="*/ 445 w 385624"/>
                <a:gd name="connsiteY4" fmla="*/ -214 h 74475"/>
                <a:gd name="connsiteX5" fmla="*/ 386069 w 385624"/>
                <a:gd name="connsiteY5" fmla="*/ -214 h 74475"/>
                <a:gd name="connsiteX6" fmla="*/ 386069 w 385624"/>
                <a:gd name="connsiteY6" fmla="*/ 31590 h 74475"/>
                <a:gd name="connsiteX7" fmla="*/ 343399 w 385624"/>
                <a:gd name="connsiteY7" fmla="*/ 74260 h 74475"/>
                <a:gd name="connsiteX8" fmla="*/ 343134 w 385624"/>
                <a:gd name="connsiteY8" fmla="*/ 74260 h 7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624" h="74475">
                  <a:moveTo>
                    <a:pt x="343134" y="74260"/>
                  </a:moveTo>
                  <a:lnTo>
                    <a:pt x="43380" y="74260"/>
                  </a:lnTo>
                  <a:cubicBezTo>
                    <a:pt x="19819" y="74419"/>
                    <a:pt x="604" y="55416"/>
                    <a:pt x="445" y="31855"/>
                  </a:cubicBezTo>
                  <a:cubicBezTo>
                    <a:pt x="445" y="31775"/>
                    <a:pt x="445" y="31669"/>
                    <a:pt x="445" y="31590"/>
                  </a:cubicBezTo>
                  <a:lnTo>
                    <a:pt x="445" y="-214"/>
                  </a:lnTo>
                  <a:lnTo>
                    <a:pt x="386069" y="-214"/>
                  </a:lnTo>
                  <a:lnTo>
                    <a:pt x="386069" y="31590"/>
                  </a:lnTo>
                  <a:cubicBezTo>
                    <a:pt x="386069" y="55152"/>
                    <a:pt x="366960" y="74260"/>
                    <a:pt x="343399" y="74260"/>
                  </a:cubicBezTo>
                  <a:cubicBezTo>
                    <a:pt x="343319" y="74260"/>
                    <a:pt x="343213" y="74260"/>
                    <a:pt x="343134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91" name="Graphic 8">
              <a:extLst>
                <a:ext uri="{FF2B5EF4-FFF2-40B4-BE49-F238E27FC236}">
                  <a16:creationId xmlns:a16="http://schemas.microsoft.com/office/drawing/2014/main" id="{C5750388-5D98-494D-90ED-EC3ABB1117EC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11101996" y="5769260"/>
              <a:ext cx="385624" cy="67705"/>
            </a:xfrm>
            <a:custGeom>
              <a:avLst/>
              <a:gdLst>
                <a:gd name="connsiteX0" fmla="*/ 343133 w 385624"/>
                <a:gd name="connsiteY0" fmla="*/ 74260 h 74475"/>
                <a:gd name="connsiteX1" fmla="*/ 43380 w 385624"/>
                <a:gd name="connsiteY1" fmla="*/ 74260 h 74475"/>
                <a:gd name="connsiteX2" fmla="*/ 445 w 385624"/>
                <a:gd name="connsiteY2" fmla="*/ 31855 h 74475"/>
                <a:gd name="connsiteX3" fmla="*/ 445 w 385624"/>
                <a:gd name="connsiteY3" fmla="*/ 31590 h 74475"/>
                <a:gd name="connsiteX4" fmla="*/ 445 w 385624"/>
                <a:gd name="connsiteY4" fmla="*/ -214 h 74475"/>
                <a:gd name="connsiteX5" fmla="*/ 386069 w 385624"/>
                <a:gd name="connsiteY5" fmla="*/ -214 h 74475"/>
                <a:gd name="connsiteX6" fmla="*/ 386069 w 385624"/>
                <a:gd name="connsiteY6" fmla="*/ 31590 h 74475"/>
                <a:gd name="connsiteX7" fmla="*/ 343399 w 385624"/>
                <a:gd name="connsiteY7" fmla="*/ 74260 h 74475"/>
                <a:gd name="connsiteX8" fmla="*/ 343133 w 385624"/>
                <a:gd name="connsiteY8" fmla="*/ 74260 h 7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624" h="74475">
                  <a:moveTo>
                    <a:pt x="343133" y="74260"/>
                  </a:moveTo>
                  <a:lnTo>
                    <a:pt x="43380" y="74260"/>
                  </a:lnTo>
                  <a:cubicBezTo>
                    <a:pt x="19819" y="74419"/>
                    <a:pt x="604" y="55416"/>
                    <a:pt x="445" y="31855"/>
                  </a:cubicBezTo>
                  <a:cubicBezTo>
                    <a:pt x="445" y="31775"/>
                    <a:pt x="445" y="31669"/>
                    <a:pt x="445" y="31590"/>
                  </a:cubicBezTo>
                  <a:lnTo>
                    <a:pt x="445" y="-214"/>
                  </a:lnTo>
                  <a:lnTo>
                    <a:pt x="386069" y="-214"/>
                  </a:lnTo>
                  <a:lnTo>
                    <a:pt x="386069" y="31590"/>
                  </a:lnTo>
                  <a:cubicBezTo>
                    <a:pt x="386069" y="55152"/>
                    <a:pt x="366960" y="74260"/>
                    <a:pt x="343399" y="74260"/>
                  </a:cubicBezTo>
                  <a:cubicBezTo>
                    <a:pt x="343319" y="74260"/>
                    <a:pt x="343213" y="74260"/>
                    <a:pt x="343133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92" name="Graphic 8">
              <a:extLst>
                <a:ext uri="{FF2B5EF4-FFF2-40B4-BE49-F238E27FC236}">
                  <a16:creationId xmlns:a16="http://schemas.microsoft.com/office/drawing/2014/main" id="{C825B732-0A00-44B2-83C8-4B12124089AE}"/>
                </a:ext>
              </a:extLst>
            </p:cNvPr>
            <p:cNvSpPr/>
            <p:nvPr/>
          </p:nvSpPr>
          <p:spPr bwMode="gray">
            <a:xfrm>
              <a:off x="9918885" y="5769260"/>
              <a:ext cx="385624" cy="67704"/>
            </a:xfrm>
            <a:custGeom>
              <a:avLst/>
              <a:gdLst>
                <a:gd name="connsiteX0" fmla="*/ 343399 w 385624"/>
                <a:gd name="connsiteY0" fmla="*/ 74260 h 74474"/>
                <a:gd name="connsiteX1" fmla="*/ 43381 w 385624"/>
                <a:gd name="connsiteY1" fmla="*/ 74260 h 74474"/>
                <a:gd name="connsiteX2" fmla="*/ 445 w 385624"/>
                <a:gd name="connsiteY2" fmla="*/ 31590 h 74474"/>
                <a:gd name="connsiteX3" fmla="*/ 445 w 385624"/>
                <a:gd name="connsiteY3" fmla="*/ -214 h 74474"/>
                <a:gd name="connsiteX4" fmla="*/ 386070 w 385624"/>
                <a:gd name="connsiteY4" fmla="*/ -214 h 74474"/>
                <a:gd name="connsiteX5" fmla="*/ 386070 w 385624"/>
                <a:gd name="connsiteY5" fmla="*/ 31590 h 74474"/>
                <a:gd name="connsiteX6" fmla="*/ 343399 w 385624"/>
                <a:gd name="connsiteY6" fmla="*/ 74260 h 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5624" h="74474">
                  <a:moveTo>
                    <a:pt x="343399" y="74260"/>
                  </a:moveTo>
                  <a:lnTo>
                    <a:pt x="43381" y="74260"/>
                  </a:lnTo>
                  <a:cubicBezTo>
                    <a:pt x="19766" y="74260"/>
                    <a:pt x="604" y="55204"/>
                    <a:pt x="445" y="31590"/>
                  </a:cubicBezTo>
                  <a:lnTo>
                    <a:pt x="445" y="-214"/>
                  </a:lnTo>
                  <a:lnTo>
                    <a:pt x="386070" y="-214"/>
                  </a:lnTo>
                  <a:lnTo>
                    <a:pt x="386070" y="31590"/>
                  </a:lnTo>
                  <a:cubicBezTo>
                    <a:pt x="386070" y="55152"/>
                    <a:pt x="366960" y="74260"/>
                    <a:pt x="343399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143" name="Rechteck 22">
            <a:extLst>
              <a:ext uri="{FF2B5EF4-FFF2-40B4-BE49-F238E27FC236}">
                <a16:creationId xmlns:a16="http://schemas.microsoft.com/office/drawing/2014/main" id="{CBFE8A66-761E-4E06-817D-7AF9DB96F34A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2" y="4797292"/>
            <a:ext cx="1703388" cy="1260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26000" bIns="72000" rtlCol="0" anchor="t"/>
          <a:lstStyle/>
          <a:p>
            <a:endParaRPr lang="en-US" sz="1400" b="1">
              <a:solidFill>
                <a:srgbClr val="009FE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6" name="Rechteck 22">
            <a:extLst>
              <a:ext uri="{FF2B5EF4-FFF2-40B4-BE49-F238E27FC236}">
                <a16:creationId xmlns:a16="http://schemas.microsoft.com/office/drawing/2014/main" id="{54AD9F60-B627-4700-A183-E0B33451AB7E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8904592" y="116074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algn="ctr"/>
            <a:endParaRPr lang="en-US" sz="2000" b="1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7" name="Text Placeholder 3">
            <a:extLst>
              <a:ext uri="{FF2B5EF4-FFF2-40B4-BE49-F238E27FC236}">
                <a16:creationId xmlns:a16="http://schemas.microsoft.com/office/drawing/2014/main" id="{8D0DE548-E9D2-4F6A-BE14-E240D13F2AE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32609" y="123275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504000" tIns="288000" rIns="144000" bIns="14400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170" name="Text Placeholder 3">
            <a:extLst>
              <a:ext uri="{FF2B5EF4-FFF2-40B4-BE49-F238E27FC236}">
                <a16:creationId xmlns:a16="http://schemas.microsoft.com/office/drawing/2014/main" id="{E7DA00C2-CB7D-4D2E-9439-3F6D7D89A8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324" y="4948924"/>
            <a:ext cx="1692064" cy="956736"/>
          </a:xfrm>
        </p:spPr>
        <p:txBody>
          <a:bodyPr lIns="0" tIns="0" rIns="144000" bIns="0" anchor="ctr" anchorCtr="0">
            <a:noAutofit/>
          </a:bodyPr>
          <a:lstStyle>
            <a:lvl1pPr algn="r">
              <a:buNone/>
              <a:defRPr sz="4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2" name="Text Placeholder 3">
            <a:extLst>
              <a:ext uri="{FF2B5EF4-FFF2-40B4-BE49-F238E27FC236}">
                <a16:creationId xmlns:a16="http://schemas.microsoft.com/office/drawing/2014/main" id="{76310A97-B96F-4013-8E01-4AC633F792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58144" y="130267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4" name="Rechteck 22">
            <a:extLst>
              <a:ext uri="{FF2B5EF4-FFF2-40B4-BE49-F238E27FC236}">
                <a16:creationId xmlns:a16="http://schemas.microsoft.com/office/drawing/2014/main" id="{FFA0F5B5-F586-4B10-A55A-AE332A18EB45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8904592" y="440110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algn="ctr"/>
            <a:endParaRPr lang="en-US" sz="2000" b="1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5" name="Text Placeholder 3">
            <a:extLst>
              <a:ext uri="{FF2B5EF4-FFF2-40B4-BE49-F238E27FC236}">
                <a16:creationId xmlns:a16="http://schemas.microsoft.com/office/drawing/2014/main" id="{EC7278C5-627E-4081-BE78-7DC81DD7D7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32609" y="447311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lIns="504000" tIns="288000" rIns="144000" bIns="144000" rtlCol="0">
            <a:normAutofit/>
          </a:bodyPr>
          <a:lstStyle>
            <a:lvl1pPr marL="0" indent="0">
              <a:buNone/>
              <a:defRPr lang="en-GB" sz="2000" b="1" dirty="0">
                <a:solidFill>
                  <a:schemeClr val="tx2"/>
                </a:solidFill>
              </a:defRPr>
            </a:lvl1pPr>
          </a:lstStyle>
          <a:p>
            <a:pPr marL="228589" lvl="0" indent="-228589">
              <a:lnSpc>
                <a:spcPct val="100000"/>
              </a:lnSpc>
              <a:spcBef>
                <a:spcPts val="0"/>
              </a:spcBef>
            </a:pPr>
            <a:r>
              <a:rPr lang="en-GB"/>
              <a:t>Description</a:t>
            </a:r>
          </a:p>
        </p:txBody>
      </p:sp>
      <p:sp>
        <p:nvSpPr>
          <p:cNvPr id="176" name="Text Placeholder 3">
            <a:extLst>
              <a:ext uri="{FF2B5EF4-FFF2-40B4-BE49-F238E27FC236}">
                <a16:creationId xmlns:a16="http://schemas.microsoft.com/office/drawing/2014/main" id="{ABF5F8D6-B992-449F-AAEC-B7D513D9B5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58144" y="454303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7" name="Rechteck 22">
            <a:extLst>
              <a:ext uri="{FF2B5EF4-FFF2-40B4-BE49-F238E27FC236}">
                <a16:creationId xmlns:a16="http://schemas.microsoft.com/office/drawing/2014/main" id="{3532B7CB-D4B0-4DB1-B04F-8E1E31CD9522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gray">
          <a:xfrm>
            <a:off x="8904592" y="278092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algn="ctr"/>
            <a:endParaRPr lang="en-US" sz="2000" b="1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8" name="Text Placeholder 3">
            <a:extLst>
              <a:ext uri="{FF2B5EF4-FFF2-40B4-BE49-F238E27FC236}">
                <a16:creationId xmlns:a16="http://schemas.microsoft.com/office/drawing/2014/main" id="{1175D43F-A21E-4E54-8D17-AD2BF60BB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32609" y="285293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lIns="504000" tIns="288000" rIns="144000" bIns="144000" rtlCol="0">
            <a:normAutofit/>
          </a:bodyPr>
          <a:lstStyle>
            <a:lvl1pPr marL="0" indent="0">
              <a:buNone/>
              <a:defRPr lang="en-GB" sz="2000" b="1" dirty="0">
                <a:solidFill>
                  <a:schemeClr val="tx2"/>
                </a:solidFill>
              </a:defRPr>
            </a:lvl1pPr>
          </a:lstStyle>
          <a:p>
            <a:pPr marL="228589" lvl="0" indent="-228589">
              <a:lnSpc>
                <a:spcPct val="100000"/>
              </a:lnSpc>
              <a:spcBef>
                <a:spcPts val="0"/>
              </a:spcBef>
            </a:pPr>
            <a:r>
              <a:rPr lang="en-GB"/>
              <a:t>Description</a:t>
            </a:r>
          </a:p>
        </p:txBody>
      </p:sp>
      <p:sp>
        <p:nvSpPr>
          <p:cNvPr id="179" name="Text Placeholder 3">
            <a:extLst>
              <a:ext uri="{FF2B5EF4-FFF2-40B4-BE49-F238E27FC236}">
                <a16:creationId xmlns:a16="http://schemas.microsoft.com/office/drawing/2014/main" id="{7A047DE7-3B3C-491D-9211-B8A383ABE4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58144" y="292285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19437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2BE1EF-4549-4392-A069-4A855D1DC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4269820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06" imgH="306" progId="TCLayout.ActiveDocument.1">
                  <p:embed/>
                </p:oleObj>
              </mc:Choice>
              <mc:Fallback>
                <p:oleObj name="think-cell Folie" r:id="rId8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2BE1EF-4549-4392-A069-4A855D1DC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2">
            <a:extLst>
              <a:ext uri="{FF2B5EF4-FFF2-40B4-BE49-F238E27FC236}">
                <a16:creationId xmlns:a16="http://schemas.microsoft.com/office/drawing/2014/main" id="{1062872F-2FD3-4D2F-B909-6BFA8945A6C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6996789" y="2132856"/>
            <a:ext cx="4499811" cy="3533728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algn="ctr"/>
            <a:endParaRPr lang="en-US" sz="1600" b="1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89CF4FC5-E935-47DF-A98E-266B22FC27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47577" y="2278785"/>
            <a:ext cx="4499811" cy="3526705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648000" tIns="288000" rIns="144000" bIns="14400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  <p:sp>
        <p:nvSpPr>
          <p:cNvPr id="21" name="Rechteck 22">
            <a:extLst>
              <a:ext uri="{FF2B5EF4-FFF2-40B4-BE49-F238E27FC236}">
                <a16:creationId xmlns:a16="http://schemas.microsoft.com/office/drawing/2014/main" id="{F9EAA1AA-785E-461E-951A-CA30714148D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2" y="1178359"/>
            <a:ext cx="6167439" cy="4518895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26000" bIns="72000" rtlCol="0" anchor="t"/>
          <a:lstStyle/>
          <a:p>
            <a:endParaRPr lang="en-US" sz="1400" b="1">
              <a:solidFill>
                <a:srgbClr val="009FE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Graphic 13">
            <a:extLst>
              <a:ext uri="{FF2B5EF4-FFF2-40B4-BE49-F238E27FC236}">
                <a16:creationId xmlns:a16="http://schemas.microsoft.com/office/drawing/2014/main" id="{6BB9F159-479F-418E-AAC8-225C1C6257F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-1" y="1382125"/>
            <a:ext cx="5900888" cy="4207115"/>
          </a:xfrm>
          <a:custGeom>
            <a:avLst/>
            <a:gdLst>
              <a:gd name="connsiteX0" fmla="*/ 2193825 w 2193893"/>
              <a:gd name="connsiteY0" fmla="*/ 44547 h 1432178"/>
              <a:gd name="connsiteX1" fmla="*/ 2193825 w 2193893"/>
              <a:gd name="connsiteY1" fmla="*/ 1386429 h 1432178"/>
              <a:gd name="connsiteX2" fmla="*/ 2148677 w 2193893"/>
              <a:gd name="connsiteY2" fmla="*/ 1431578 h 1432178"/>
              <a:gd name="connsiteX3" fmla="*/ 44985 w 2193893"/>
              <a:gd name="connsiteY3" fmla="*/ 1431578 h 1432178"/>
              <a:gd name="connsiteX4" fmla="*/ 29364 w 2193893"/>
              <a:gd name="connsiteY4" fmla="*/ 1428625 h 1432178"/>
              <a:gd name="connsiteX5" fmla="*/ -68 w 2193893"/>
              <a:gd name="connsiteY5" fmla="*/ 1386429 h 1432178"/>
              <a:gd name="connsiteX6" fmla="*/ -68 w 2193893"/>
              <a:gd name="connsiteY6" fmla="*/ 44547 h 1432178"/>
              <a:gd name="connsiteX7" fmla="*/ 44985 w 2193893"/>
              <a:gd name="connsiteY7" fmla="*/ -601 h 1432178"/>
              <a:gd name="connsiteX8" fmla="*/ 2148677 w 2193893"/>
              <a:gd name="connsiteY8" fmla="*/ -601 h 1432178"/>
              <a:gd name="connsiteX9" fmla="*/ 2165727 w 2193893"/>
              <a:gd name="connsiteY9" fmla="*/ 2733 h 1432178"/>
              <a:gd name="connsiteX10" fmla="*/ 2193825 w 2193893"/>
              <a:gd name="connsiteY10" fmla="*/ 44547 h 1432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93893" h="1432178">
                <a:moveTo>
                  <a:pt x="2193825" y="44547"/>
                </a:moveTo>
                <a:lnTo>
                  <a:pt x="2193825" y="1386429"/>
                </a:lnTo>
                <a:cubicBezTo>
                  <a:pt x="2193825" y="1411366"/>
                  <a:pt x="2173613" y="1431578"/>
                  <a:pt x="2148677" y="1431578"/>
                </a:cubicBezTo>
                <a:lnTo>
                  <a:pt x="44985" y="1431578"/>
                </a:lnTo>
                <a:cubicBezTo>
                  <a:pt x="39639" y="1431588"/>
                  <a:pt x="34340" y="1430578"/>
                  <a:pt x="29364" y="1428625"/>
                </a:cubicBezTo>
                <a:cubicBezTo>
                  <a:pt x="11644" y="1422167"/>
                  <a:pt x="-125" y="1405289"/>
                  <a:pt x="-68" y="1386429"/>
                </a:cubicBezTo>
                <a:lnTo>
                  <a:pt x="-68" y="44547"/>
                </a:lnTo>
                <a:cubicBezTo>
                  <a:pt x="-68" y="19649"/>
                  <a:pt x="20088" y="-554"/>
                  <a:pt x="44985" y="-601"/>
                </a:cubicBezTo>
                <a:lnTo>
                  <a:pt x="2148677" y="-601"/>
                </a:lnTo>
                <a:cubicBezTo>
                  <a:pt x="2154516" y="-582"/>
                  <a:pt x="2160307" y="552"/>
                  <a:pt x="2165727" y="2733"/>
                </a:cubicBezTo>
                <a:cubicBezTo>
                  <a:pt x="2182700" y="9686"/>
                  <a:pt x="2193806" y="26202"/>
                  <a:pt x="2193825" y="44547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23" name="Freeform: Shape 13">
            <a:extLst>
              <a:ext uri="{FF2B5EF4-FFF2-40B4-BE49-F238E27FC236}">
                <a16:creationId xmlns:a16="http://schemas.microsoft.com/office/drawing/2014/main" id="{ECD7AD49-C71B-401A-AB19-5C820276DF31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0" y="1296515"/>
            <a:ext cx="5983421" cy="4580759"/>
          </a:xfrm>
          <a:custGeom>
            <a:avLst/>
            <a:gdLst>
              <a:gd name="connsiteX0" fmla="*/ 0 w 4655840"/>
              <a:gd name="connsiteY0" fmla="*/ 0 h 3564396"/>
              <a:gd name="connsiteX1" fmla="*/ 4489417 w 4655840"/>
              <a:gd name="connsiteY1" fmla="*/ 0 h 3564396"/>
              <a:gd name="connsiteX2" fmla="*/ 4655840 w 4655840"/>
              <a:gd name="connsiteY2" fmla="*/ 166423 h 3564396"/>
              <a:gd name="connsiteX3" fmla="*/ 4655840 w 4655840"/>
              <a:gd name="connsiteY3" fmla="*/ 3326189 h 3564396"/>
              <a:gd name="connsiteX4" fmla="*/ 4489417 w 4655840"/>
              <a:gd name="connsiteY4" fmla="*/ 3492612 h 3564396"/>
              <a:gd name="connsiteX5" fmla="*/ 4151003 w 4655840"/>
              <a:gd name="connsiteY5" fmla="*/ 3492612 h 3564396"/>
              <a:gd name="connsiteX6" fmla="*/ 4151003 w 4655840"/>
              <a:gd name="connsiteY6" fmla="*/ 3517249 h 3564396"/>
              <a:gd name="connsiteX7" fmla="*/ 4103856 w 4655840"/>
              <a:gd name="connsiteY7" fmla="*/ 3564396 h 3564396"/>
              <a:gd name="connsiteX8" fmla="*/ 3874895 w 4655840"/>
              <a:gd name="connsiteY8" fmla="*/ 3564396 h 3564396"/>
              <a:gd name="connsiteX9" fmla="*/ 3827748 w 4655840"/>
              <a:gd name="connsiteY9" fmla="*/ 3517249 h 3564396"/>
              <a:gd name="connsiteX10" fmla="*/ 3827748 w 4655840"/>
              <a:gd name="connsiteY10" fmla="*/ 3492612 h 3564396"/>
              <a:gd name="connsiteX11" fmla="*/ 3682951 w 4655840"/>
              <a:gd name="connsiteY11" fmla="*/ 3492612 h 3564396"/>
              <a:gd name="connsiteX12" fmla="*/ 3682951 w 4655840"/>
              <a:gd name="connsiteY12" fmla="*/ 3517249 h 3564396"/>
              <a:gd name="connsiteX13" fmla="*/ 3635804 w 4655840"/>
              <a:gd name="connsiteY13" fmla="*/ 3564396 h 3564396"/>
              <a:gd name="connsiteX14" fmla="*/ 3406843 w 4655840"/>
              <a:gd name="connsiteY14" fmla="*/ 3564396 h 3564396"/>
              <a:gd name="connsiteX15" fmla="*/ 3359696 w 4655840"/>
              <a:gd name="connsiteY15" fmla="*/ 3517249 h 3564396"/>
              <a:gd name="connsiteX16" fmla="*/ 3359696 w 4655840"/>
              <a:gd name="connsiteY16" fmla="*/ 3492612 h 3564396"/>
              <a:gd name="connsiteX17" fmla="*/ 3179676 w 4655840"/>
              <a:gd name="connsiteY17" fmla="*/ 3492612 h 3564396"/>
              <a:gd name="connsiteX18" fmla="*/ 3179676 w 4655840"/>
              <a:gd name="connsiteY18" fmla="*/ 3517249 h 3564396"/>
              <a:gd name="connsiteX19" fmla="*/ 3132529 w 4655840"/>
              <a:gd name="connsiteY19" fmla="*/ 3564396 h 3564396"/>
              <a:gd name="connsiteX20" fmla="*/ 2903568 w 4655840"/>
              <a:gd name="connsiteY20" fmla="*/ 3564396 h 3564396"/>
              <a:gd name="connsiteX21" fmla="*/ 2856421 w 4655840"/>
              <a:gd name="connsiteY21" fmla="*/ 3517249 h 3564396"/>
              <a:gd name="connsiteX22" fmla="*/ 2856421 w 4655840"/>
              <a:gd name="connsiteY22" fmla="*/ 3492612 h 3564396"/>
              <a:gd name="connsiteX23" fmla="*/ 0 w 4655840"/>
              <a:gd name="connsiteY23" fmla="*/ 3492612 h 3564396"/>
              <a:gd name="connsiteX24" fmla="*/ 0 w 4655840"/>
              <a:gd name="connsiteY24" fmla="*/ 3204356 h 3564396"/>
              <a:gd name="connsiteX25" fmla="*/ 4511825 w 4655840"/>
              <a:gd name="connsiteY25" fmla="*/ 3204356 h 3564396"/>
              <a:gd name="connsiteX26" fmla="*/ 4511825 w 4655840"/>
              <a:gd name="connsiteY26" fmla="*/ 144016 h 3564396"/>
              <a:gd name="connsiteX27" fmla="*/ 0 w 4655840"/>
              <a:gd name="connsiteY27" fmla="*/ 144016 h 3564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655840" h="3564396">
                <a:moveTo>
                  <a:pt x="0" y="0"/>
                </a:moveTo>
                <a:lnTo>
                  <a:pt x="4489417" y="0"/>
                </a:lnTo>
                <a:cubicBezTo>
                  <a:pt x="4581330" y="0"/>
                  <a:pt x="4655840" y="74510"/>
                  <a:pt x="4655840" y="166423"/>
                </a:cubicBezTo>
                <a:lnTo>
                  <a:pt x="4655840" y="3326189"/>
                </a:lnTo>
                <a:cubicBezTo>
                  <a:pt x="4655840" y="3418102"/>
                  <a:pt x="4581330" y="3492612"/>
                  <a:pt x="4489417" y="3492612"/>
                </a:cubicBezTo>
                <a:lnTo>
                  <a:pt x="4151003" y="3492612"/>
                </a:lnTo>
                <a:lnTo>
                  <a:pt x="4151003" y="3517249"/>
                </a:lnTo>
                <a:cubicBezTo>
                  <a:pt x="4151003" y="3543288"/>
                  <a:pt x="4129895" y="3564396"/>
                  <a:pt x="4103856" y="3564396"/>
                </a:cubicBezTo>
                <a:lnTo>
                  <a:pt x="3874895" y="3564396"/>
                </a:lnTo>
                <a:cubicBezTo>
                  <a:pt x="3848856" y="3564396"/>
                  <a:pt x="3827748" y="3543288"/>
                  <a:pt x="3827748" y="3517249"/>
                </a:cubicBezTo>
                <a:lnTo>
                  <a:pt x="3827748" y="3492612"/>
                </a:lnTo>
                <a:lnTo>
                  <a:pt x="3682951" y="3492612"/>
                </a:lnTo>
                <a:lnTo>
                  <a:pt x="3682951" y="3517249"/>
                </a:lnTo>
                <a:cubicBezTo>
                  <a:pt x="3682951" y="3543288"/>
                  <a:pt x="3661843" y="3564396"/>
                  <a:pt x="3635804" y="3564396"/>
                </a:cubicBezTo>
                <a:lnTo>
                  <a:pt x="3406843" y="3564396"/>
                </a:lnTo>
                <a:cubicBezTo>
                  <a:pt x="3380804" y="3564396"/>
                  <a:pt x="3359696" y="3543288"/>
                  <a:pt x="3359696" y="3517249"/>
                </a:cubicBezTo>
                <a:lnTo>
                  <a:pt x="3359696" y="3492612"/>
                </a:lnTo>
                <a:lnTo>
                  <a:pt x="3179676" y="3492612"/>
                </a:lnTo>
                <a:lnTo>
                  <a:pt x="3179676" y="3517249"/>
                </a:lnTo>
                <a:cubicBezTo>
                  <a:pt x="3179676" y="3543288"/>
                  <a:pt x="3158568" y="3564396"/>
                  <a:pt x="3132529" y="3564396"/>
                </a:cubicBezTo>
                <a:lnTo>
                  <a:pt x="2903568" y="3564396"/>
                </a:lnTo>
                <a:cubicBezTo>
                  <a:pt x="2877529" y="3564396"/>
                  <a:pt x="2856421" y="3543288"/>
                  <a:pt x="2856421" y="3517249"/>
                </a:cubicBezTo>
                <a:lnTo>
                  <a:pt x="2856421" y="3492612"/>
                </a:lnTo>
                <a:lnTo>
                  <a:pt x="0" y="3492612"/>
                </a:lnTo>
                <a:lnTo>
                  <a:pt x="0" y="3204356"/>
                </a:lnTo>
                <a:lnTo>
                  <a:pt x="4511825" y="3204356"/>
                </a:lnTo>
                <a:lnTo>
                  <a:pt x="4511825" y="144016"/>
                </a:lnTo>
                <a:lnTo>
                  <a:pt x="0" y="144016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CA6A8F0-846F-4167-B7E5-22F03BA52704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6381991" y="2387324"/>
            <a:ext cx="936000" cy="936000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pl-PL" sz="133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vs</a:t>
            </a:r>
            <a:endParaRPr lang="en-US" sz="133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BAD32E1-C945-46E8-9018-CA00D2F1789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4136" y="2387324"/>
            <a:ext cx="936000" cy="936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2"/>
            </a:solidFill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805331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öp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2FC641E1-B8E3-413B-904A-2440DD1ED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810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2E1FDC18-783E-41B0-A0D2-168EE16F3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178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9B581941-4DFC-434A-86AA-4C1552688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24643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DB581137-3902-47A4-B44D-30D80149B4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26215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A208E58-4EC9-4B06-A80F-E2943394BD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27787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19039486-E685-4E1E-90DD-040C8A5525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0602" y="4942047"/>
            <a:ext cx="3036047" cy="956736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AE1C2790-44C2-4FE8-ABB1-D94E61B6F7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7979" y="4943791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56DAC46A-A81D-4BF6-853B-46D6CBA80C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470" y="4942047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9A11213-6B94-4070-B425-F3D4934CE78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42856" y="2647953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45B65062-1C74-4975-AB11-DD0AD47E1D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423504" y="2647953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4" name="Bildplatzhalter 6">
            <a:extLst>
              <a:ext uri="{FF2B5EF4-FFF2-40B4-BE49-F238E27FC236}">
                <a16:creationId xmlns:a16="http://schemas.microsoft.com/office/drawing/2014/main" id="{B8892F41-2115-496D-8249-7B6E9DA4EB7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45996" y="2647953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330538148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3A081B37-E57B-48A2-AC9E-4C379D3B89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692" y="2494279"/>
            <a:ext cx="1044000" cy="1044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297B832-0F11-4184-8F58-81CF859E33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42643" y="1363879"/>
            <a:ext cx="1044000" cy="1044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58F55ED-DB6A-479A-B682-3AB85F09F6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74063" y="2494279"/>
            <a:ext cx="1044000" cy="1044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38F46AA-D2E1-4A9E-A65E-BF6590DA664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97867" y="1363879"/>
            <a:ext cx="1044000" cy="1044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EFAFAC9-23DC-43C2-9ADB-F76F4CE706E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23275" y="4940401"/>
            <a:ext cx="1044000" cy="1044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F36B00A-61CE-4138-B78D-643C3EE90EA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39297" y="3809901"/>
            <a:ext cx="1044000" cy="1044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6F6A55E-7A12-4A71-BB5D-BF0E01662F43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745033" y="4940401"/>
            <a:ext cx="1044000" cy="1044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CFACE34-BF9F-4E6D-9561-D540D2CF7D3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741439" y="3809901"/>
            <a:ext cx="1044000" cy="1044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413FF27-BA52-4273-A50A-F4100BB7D01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8285" y="2494279"/>
            <a:ext cx="1044000" cy="1044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3E35579-64AF-4682-AC8C-8FE30B29E3C7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09600" y="1363879"/>
            <a:ext cx="1044000" cy="1044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BAF70398-B919-4639-9C97-1ED35EDC7B8F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4896520" y="2494279"/>
            <a:ext cx="1044000" cy="1044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B424053-AFD7-4E94-BDBE-483630C81136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896520" y="1363879"/>
            <a:ext cx="1044000" cy="1044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03F1A61-6359-4273-B302-E846FF9B6314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107331" y="2494279"/>
            <a:ext cx="1044000" cy="1044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244A3B7D-14F6-4273-9FA2-ABD4F1E05843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8081504" y="1363879"/>
            <a:ext cx="1044000" cy="1044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22A49A86-9DE1-432A-9A12-E5E664D46A62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712464" y="2494279"/>
            <a:ext cx="1044000" cy="1044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B3ED136C-AFF3-4DE4-B377-1E83FC24B590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741439" y="1363879"/>
            <a:ext cx="1044000" cy="1044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5C6AD4FD-9D36-4DF8-A9BC-E107A62A8260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886881" y="4940401"/>
            <a:ext cx="1044000" cy="1044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9573D5A-5CE8-4ABA-8B10-DFC508FC9C30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811067" y="3809901"/>
            <a:ext cx="1044000" cy="1044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22D77ED-D0EC-480B-8F58-275A5C25D6DB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828451" y="2494279"/>
            <a:ext cx="1044000" cy="10440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6489A5EA-9CCC-4A15-A410-B2026DF0F238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3823547" y="1363879"/>
            <a:ext cx="1044000" cy="10440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DAA6DEA-6635-4248-AF8E-D44D50D7F16B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930881" y="4940401"/>
            <a:ext cx="1044000" cy="1044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AD1B1F4-9400-4057-84EE-557904E5B1A1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4879275" y="3809901"/>
            <a:ext cx="1044000" cy="10440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52C8BE19-2849-4FD4-A169-E1063DB50417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671811" y="3809901"/>
            <a:ext cx="1044000" cy="104400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4AA2F212-9470-496A-87E2-55B8A58EF4FA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678516" y="4940401"/>
            <a:ext cx="1044000" cy="104400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52F79728-FF7D-4B50-9478-536B0CB38F10}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609600" y="3809901"/>
            <a:ext cx="1044000" cy="10440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86CC9833-B63D-4885-89AF-0999C90FF18E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609600" y="4940401"/>
            <a:ext cx="1044000" cy="104400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35E9ECD9-E10E-4CBA-BF52-4670D794D592}"/>
              </a:ext>
            </a:extLst>
          </p:cNvPr>
          <p:cNvPicPr>
            <a:picLocks noChangeAspect="1"/>
          </p:cNvPicPr>
          <p:nvPr userDrawn="1"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8120863" y="3809901"/>
            <a:ext cx="1044000" cy="1044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AE32466E-9C49-47B3-AFAC-9704D0A86BEA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8174448" y="4940401"/>
            <a:ext cx="1044000" cy="1044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D1F1DB1D-D9AE-4D6B-8727-B6E25271C409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9230063" y="4940301"/>
            <a:ext cx="1044000" cy="1044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6FA8DC32-CC3B-41D8-BD42-0BD97DA6806F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9207329" y="3809901"/>
            <a:ext cx="1044000" cy="1044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9E30971E-6883-445B-883D-0CA8B2DA11F8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7024584" y="4940401"/>
            <a:ext cx="1044000" cy="10440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D621922B-D161-4786-8E9A-219FB2CC39E6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7030880" y="3809901"/>
            <a:ext cx="1044000" cy="10440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E0DDB2FD-F90D-41D7-B681-54C600089E09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668464" y="2494279"/>
            <a:ext cx="1044000" cy="10440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844CBE15-A36E-4639-872B-E2DD409D85E5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674513" y="1363879"/>
            <a:ext cx="1044000" cy="10440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12808483-DB95-4D93-A059-578112FE1EA6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7024584" y="1363879"/>
            <a:ext cx="1044000" cy="1044000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4F20F2D2-CEF1-4AF3-91EF-17308C8D6DE9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7002491" y="2494279"/>
            <a:ext cx="1044000" cy="1044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79B1C5B4-72F4-4F4C-89A5-843A94CB6958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5963445" y="1363879"/>
            <a:ext cx="1044000" cy="104400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F6C36229-30EB-405E-8BC0-F70774E67A6A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5923275" y="2494279"/>
            <a:ext cx="1044000" cy="10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40572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9" y="2165354"/>
            <a:ext cx="10512407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4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294053740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396" y="1273923"/>
            <a:ext cx="10512407" cy="4888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4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183607033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8" y="2165354"/>
            <a:ext cx="5148245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7AE868-13D3-4D28-A8E4-F635F770F6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7442" y="2168525"/>
            <a:ext cx="5184775" cy="36004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4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244609437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4" y="2165354"/>
            <a:ext cx="6480000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BADABE6-3453-400C-A405-40E92F11ED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16195" y="2165353"/>
            <a:ext cx="3636000" cy="3603625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4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22846845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DFEEB7C-F76C-49E8-A206-5E25BF4E3C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7608888" y="0"/>
            <a:ext cx="4583112" cy="6858000"/>
          </a:xfrm>
          <a:solidFill>
            <a:schemeClr val="bg2"/>
          </a:solidFill>
        </p:spPr>
        <p:txBody>
          <a:bodyPr bIns="828000" anchor="ctr">
            <a:normAutofit/>
          </a:bodyPr>
          <a:lstStyle>
            <a:lvl1pPr algn="ctr">
              <a:defRPr sz="1200"/>
            </a:lvl1pPr>
          </a:lstStyle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17BBB15-227F-45AD-B6FB-4F74D670DA84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766764" y="2133599"/>
            <a:ext cx="6553200" cy="3959226"/>
          </a:xfrm>
        </p:spPr>
        <p:txBody>
          <a:bodyPr/>
          <a:lstStyle/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FFC7DAC-89A5-4B89-BC9A-1717238D6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16F491-7036-4E36-99B9-2ACCC7252B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75F291-B186-437B-9BD4-204251E78F3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7F6D6D5-AAF7-451F-93D6-110A6B6E0B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67408" y="1196752"/>
            <a:ext cx="6552584" cy="360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1pPr>
            <a:lvl2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2pPr>
            <a:lvl3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3pPr>
            <a:lvl4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9pPr>
          </a:lstStyle>
          <a:p>
            <a:pPr lvl="0"/>
            <a:r>
              <a:rPr lang="en-GB" err="1"/>
              <a:t>Optionale</a:t>
            </a:r>
            <a:r>
              <a:rPr lang="en-GB"/>
              <a:t> Sub-Headline</a:t>
            </a:r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56C6FE21-6ABD-47BD-A597-14F65A78FD92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9840592" y="788974"/>
            <a:ext cx="1584000" cy="4675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solidFill>
              <a:schemeClr val="tx2">
                <a:alpha val="0"/>
              </a:schemeClr>
            </a:solidFill>
          </a:ln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F76FAF1B-5A59-4885-96BF-6BEE4F89BD9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766764" y="260752"/>
            <a:ext cx="6553200" cy="936000"/>
          </a:xfrm>
        </p:spPr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1137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 userDrawn="1">
          <p15:clr>
            <a:srgbClr val="5ACBF0"/>
          </p15:clr>
        </p15:guide>
        <p15:guide id="2" orient="horz" pos="3838" userDrawn="1">
          <p15:clr>
            <a:srgbClr val="5ACBF0"/>
          </p15:clr>
        </p15:guide>
        <p15:guide id="3" pos="7197" userDrawn="1">
          <p15:clr>
            <a:srgbClr val="5ACBF0"/>
          </p15:clr>
        </p15:guide>
        <p15:guide id="4" pos="483" userDrawn="1">
          <p15:clr>
            <a:srgbClr val="5ACBF0"/>
          </p15:clr>
        </p15:guide>
        <p15:guide id="5" pos="4793" userDrawn="1">
          <p15:clr>
            <a:srgbClr val="5ACBF0"/>
          </p15:clr>
        </p15:guide>
        <p15:guide id="6" pos="4611" userDrawn="1">
          <p15:clr>
            <a:srgbClr val="5ACBF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E80C4A-E133-4D33-A918-188A03B20D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8AF9B4-D53B-48CC-B719-350DF8315F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167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371081845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+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DF379BB-6F1E-48A1-82A2-A4C682BB95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91" y="1624013"/>
            <a:ext cx="10514012" cy="41449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328816585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378598812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öp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2FC641E1-B8E3-413B-904A-2440DD1ED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810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2E1FDC18-783E-41B0-A0D2-168EE16F3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167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9B581941-4DFC-434A-86AA-4C1552688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24643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DB581137-3902-47A4-B44D-30D80149B4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26215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A208E58-4EC9-4B06-A80F-E2943394BD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27787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19039486-E685-4E1E-90DD-040C8A5525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0603" y="4942047"/>
            <a:ext cx="3036047" cy="956736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AE1C2790-44C2-4FE8-ABB1-D94E61B6F7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7981" y="4943791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56DAC46A-A81D-4BF6-853B-46D6CBA80C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471" y="4942047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9A11213-6B94-4070-B425-F3D4934CE78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42856" y="2647954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45B65062-1C74-4975-AB11-DD0AD47E1D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423504" y="2647954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4" name="Bildplatzhalter 6">
            <a:extLst>
              <a:ext uri="{FF2B5EF4-FFF2-40B4-BE49-F238E27FC236}">
                <a16:creationId xmlns:a16="http://schemas.microsoft.com/office/drawing/2014/main" id="{B8892F41-2115-496D-8249-7B6E9DA4EB7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45996" y="2647954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237374133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3A081B37-E57B-48A2-AC9E-4C379D3B89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692" y="2494279"/>
            <a:ext cx="1044000" cy="1044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297B832-0F11-4184-8F58-81CF859E33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42643" y="1363879"/>
            <a:ext cx="1044000" cy="1044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58F55ED-DB6A-479A-B682-3AB85F09F6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74063" y="2494279"/>
            <a:ext cx="1044000" cy="1044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38F46AA-D2E1-4A9E-A65E-BF6590DA664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97867" y="1363879"/>
            <a:ext cx="1044000" cy="1044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EFAFAC9-23DC-43C2-9ADB-F76F4CE706E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23275" y="4940401"/>
            <a:ext cx="1044000" cy="1044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F36B00A-61CE-4138-B78D-643C3EE90EA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39297" y="3809901"/>
            <a:ext cx="1044000" cy="1044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6F6A55E-7A12-4A71-BB5D-BF0E01662F43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745033" y="4940401"/>
            <a:ext cx="1044000" cy="1044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CFACE34-BF9F-4E6D-9561-D540D2CF7D3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741439" y="3809901"/>
            <a:ext cx="1044000" cy="1044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413FF27-BA52-4273-A50A-F4100BB7D01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8285" y="2494279"/>
            <a:ext cx="1044000" cy="1044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3E35579-64AF-4682-AC8C-8FE30B29E3C7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09600" y="1363879"/>
            <a:ext cx="1044000" cy="1044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BAF70398-B919-4639-9C97-1ED35EDC7B8F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4896520" y="2494279"/>
            <a:ext cx="1044000" cy="1044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B424053-AFD7-4E94-BDBE-483630C81136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896520" y="1363879"/>
            <a:ext cx="1044000" cy="1044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03F1A61-6359-4273-B302-E846FF9B6314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107331" y="2494279"/>
            <a:ext cx="1044000" cy="1044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244A3B7D-14F6-4273-9FA2-ABD4F1E05843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8081504" y="1363879"/>
            <a:ext cx="1044000" cy="1044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22A49A86-9DE1-432A-9A12-E5E664D46A62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712464" y="2494279"/>
            <a:ext cx="1044000" cy="1044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B3ED136C-AFF3-4DE4-B377-1E83FC24B590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741439" y="1363879"/>
            <a:ext cx="1044000" cy="1044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5C6AD4FD-9D36-4DF8-A9BC-E107A62A8260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886881" y="4940401"/>
            <a:ext cx="1044000" cy="1044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9573D5A-5CE8-4ABA-8B10-DFC508FC9C30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811067" y="3809901"/>
            <a:ext cx="1044000" cy="1044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22D77ED-D0EC-480B-8F58-275A5C25D6DB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828451" y="2494279"/>
            <a:ext cx="1044000" cy="10440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6489A5EA-9CCC-4A15-A410-B2026DF0F238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3823547" y="1363879"/>
            <a:ext cx="1044000" cy="10440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DAA6DEA-6635-4248-AF8E-D44D50D7F16B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930881" y="4940401"/>
            <a:ext cx="1044000" cy="1044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AD1B1F4-9400-4057-84EE-557904E5B1A1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4879275" y="3809901"/>
            <a:ext cx="1044000" cy="10440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52C8BE19-2849-4FD4-A169-E1063DB50417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671811" y="3809901"/>
            <a:ext cx="1044000" cy="104400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4AA2F212-9470-496A-87E2-55B8A58EF4FA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678516" y="4940401"/>
            <a:ext cx="1044000" cy="104400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52F79728-FF7D-4B50-9478-536B0CB38F10}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609600" y="3809901"/>
            <a:ext cx="1044000" cy="10440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86CC9833-B63D-4885-89AF-0999C90FF18E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609600" y="4940401"/>
            <a:ext cx="1044000" cy="104400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35E9ECD9-E10E-4CBA-BF52-4670D794D592}"/>
              </a:ext>
            </a:extLst>
          </p:cNvPr>
          <p:cNvPicPr>
            <a:picLocks noChangeAspect="1"/>
          </p:cNvPicPr>
          <p:nvPr userDrawn="1"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8120863" y="3809901"/>
            <a:ext cx="1044000" cy="1044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AE32466E-9C49-47B3-AFAC-9704D0A86BEA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8174448" y="4940401"/>
            <a:ext cx="1044000" cy="1044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D1F1DB1D-D9AE-4D6B-8727-B6E25271C409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9230063" y="4940301"/>
            <a:ext cx="1044000" cy="1044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6FA8DC32-CC3B-41D8-BD42-0BD97DA6806F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9207329" y="3809901"/>
            <a:ext cx="1044000" cy="1044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9E30971E-6883-445B-883D-0CA8B2DA11F8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7024584" y="4940401"/>
            <a:ext cx="1044000" cy="10440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D621922B-D161-4786-8E9A-219FB2CC39E6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7030880" y="3809901"/>
            <a:ext cx="1044000" cy="10440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E0DDB2FD-F90D-41D7-B681-54C600089E09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668464" y="2494279"/>
            <a:ext cx="1044000" cy="10440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844CBE15-A36E-4639-872B-E2DD409D85E5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674513" y="1363879"/>
            <a:ext cx="1044000" cy="10440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12808483-DB95-4D93-A059-578112FE1EA6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7024584" y="1363879"/>
            <a:ext cx="1044000" cy="1044000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4F20F2D2-CEF1-4AF3-91EF-17308C8D6DE9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7002491" y="2494279"/>
            <a:ext cx="1044000" cy="1044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79B1C5B4-72F4-4F4C-89A5-843A94CB6958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5963445" y="1363879"/>
            <a:ext cx="1044000" cy="104400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F6C36229-30EB-405E-8BC0-F70774E67A6A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5923275" y="2494279"/>
            <a:ext cx="1044000" cy="10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66959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077641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defTabSz="914377">
              <a:defRPr/>
            </a:pPr>
            <a:fld id="{FB95B963-CBD6-47C4-B7CF-F60C897EE538}" type="slidenum">
              <a:rPr lang="de-DE" smtClean="0"/>
              <a:pPr defTabSz="914377">
                <a:defRPr/>
              </a:pPr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6" y="2165352"/>
            <a:ext cx="10512407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091987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defTabSz="914377"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31889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defTabSz="914377">
              <a:defRPr/>
            </a:pPr>
            <a:fld id="{FB95B963-CBD6-47C4-B7CF-F60C897EE538}" type="slidenum">
              <a:rPr lang="de-DE" smtClean="0"/>
              <a:pPr defTabSz="914377">
                <a:defRPr/>
              </a:pPr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394" y="1273923"/>
            <a:ext cx="10512407" cy="4888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defTabSz="914377"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996237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defTabSz="914377">
              <a:defRPr/>
            </a:pPr>
            <a:fld id="{FB95B963-CBD6-47C4-B7CF-F60C897EE538}" type="slidenum">
              <a:rPr lang="de-DE" smtClean="0"/>
              <a:pPr defTabSz="914377">
                <a:defRPr/>
              </a:pPr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6" y="2165352"/>
            <a:ext cx="5148245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0030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7AE868-13D3-4D28-A8E4-F635F770F6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7439" y="2168525"/>
            <a:ext cx="5184775" cy="36004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defTabSz="914377"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281436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defTabSz="914377">
              <a:defRPr/>
            </a:pPr>
            <a:fld id="{FB95B963-CBD6-47C4-B7CF-F60C897EE538}" type="slidenum">
              <a:rPr lang="de-DE" smtClean="0"/>
              <a:pPr defTabSz="914377">
                <a:defRPr/>
              </a:pPr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4" y="2165352"/>
            <a:ext cx="6480000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0030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BADABE6-3453-400C-A405-40E92F11ED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16195" y="2165350"/>
            <a:ext cx="3636000" cy="3603625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defTabSz="914377"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53006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FF6C3A47-D24D-437C-8C58-6578B753805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bIns="828000" anchor="ctr">
            <a:normAutofit/>
          </a:bodyPr>
          <a:lstStyle>
            <a:lvl1pPr algn="ctr">
              <a:defRPr sz="1200"/>
            </a:lvl1pPr>
          </a:lstStyle>
          <a:p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3A9AEAA-16C3-41C3-A7B7-1098994EE40E}"/>
              </a:ext>
            </a:extLst>
          </p:cNvPr>
          <p:cNvSpPr/>
          <p:nvPr userDrawn="1"/>
        </p:nvSpPr>
        <p:spPr bwMode="gray">
          <a:xfrm>
            <a:off x="767408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4DBD4BB-292B-4760-BF40-DA8D56FA3AE2}"/>
              </a:ext>
            </a:extLst>
          </p:cNvPr>
          <p:cNvSpPr/>
          <p:nvPr userDrawn="1"/>
        </p:nvSpPr>
        <p:spPr bwMode="gray">
          <a:xfrm>
            <a:off x="2134960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C5BAC43-B9EA-41CE-BA8E-88265BBED7D3}"/>
              </a:ext>
            </a:extLst>
          </p:cNvPr>
          <p:cNvSpPr/>
          <p:nvPr userDrawn="1"/>
        </p:nvSpPr>
        <p:spPr bwMode="gray">
          <a:xfrm>
            <a:off x="3503232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15B8B3A-A4F0-4607-BBAE-C29903ACEC5B}"/>
              </a:ext>
            </a:extLst>
          </p:cNvPr>
          <p:cNvSpPr/>
          <p:nvPr userDrawn="1"/>
        </p:nvSpPr>
        <p:spPr bwMode="gray">
          <a:xfrm>
            <a:off x="4871504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51682A4-D503-4705-BEFD-A76B237EE00B}"/>
              </a:ext>
            </a:extLst>
          </p:cNvPr>
          <p:cNvSpPr/>
          <p:nvPr userDrawn="1"/>
        </p:nvSpPr>
        <p:spPr bwMode="gray">
          <a:xfrm>
            <a:off x="6239776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B701514-3F93-4B11-A17D-7C51BA025700}"/>
              </a:ext>
            </a:extLst>
          </p:cNvPr>
          <p:cNvSpPr/>
          <p:nvPr userDrawn="1"/>
        </p:nvSpPr>
        <p:spPr bwMode="gray">
          <a:xfrm>
            <a:off x="7608048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A0A138B-49BC-49A3-8D90-059C30468FDB}"/>
              </a:ext>
            </a:extLst>
          </p:cNvPr>
          <p:cNvSpPr/>
          <p:nvPr userDrawn="1"/>
        </p:nvSpPr>
        <p:spPr bwMode="gray">
          <a:xfrm>
            <a:off x="8976320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B5AA852F-80E1-4C3A-8BCD-E30CE5D37D70}"/>
              </a:ext>
            </a:extLst>
          </p:cNvPr>
          <p:cNvSpPr/>
          <p:nvPr userDrawn="1"/>
        </p:nvSpPr>
        <p:spPr bwMode="gray">
          <a:xfrm>
            <a:off x="10344592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8895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3" userDrawn="1">
          <p15:clr>
            <a:srgbClr val="5ACBF0"/>
          </p15:clr>
        </p15:guide>
        <p15:guide id="2" pos="7197" userDrawn="1">
          <p15:clr>
            <a:srgbClr val="5ACBF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E80C4A-E133-4D33-A918-188A03B20D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defTabSz="914377">
              <a:defRPr/>
            </a:pPr>
            <a:fld id="{FB95B963-CBD6-47C4-B7CF-F60C897EE538}" type="slidenum">
              <a:rPr lang="de-DE" smtClean="0"/>
              <a:pPr defTabSz="914377">
                <a:defRPr/>
              </a:pPr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8AF9B4-D53B-48CC-B719-350DF8315F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0030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defTabSz="914377"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330591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+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defTabSz="914377">
              <a:defRPr/>
            </a:pPr>
            <a:fld id="{FB95B963-CBD6-47C4-B7CF-F60C897EE538}" type="slidenum">
              <a:rPr lang="de-DE" smtClean="0"/>
              <a:pPr defTabSz="914377">
                <a:defRPr/>
              </a:pPr>
              <a:t>‹#›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DF379BB-6F1E-48A1-82A2-A4C682BB95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89" y="1624013"/>
            <a:ext cx="10514012" cy="41449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defTabSz="914377"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129195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defTabSz="914377">
              <a:defRPr/>
            </a:pPr>
            <a:fld id="{FB95B963-CBD6-47C4-B7CF-F60C897EE538}" type="slidenum">
              <a:rPr lang="de-DE" smtClean="0"/>
              <a:pPr defTabSz="914377">
                <a:defRPr/>
              </a:pPr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defTabSz="914377"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000383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öp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defTabSz="914377">
              <a:defRPr/>
            </a:pPr>
            <a:fld id="{FB95B963-CBD6-47C4-B7CF-F60C897EE538}" type="slidenum">
              <a:rPr lang="de-DE" smtClean="0"/>
              <a:pPr defTabSz="914377">
                <a:defRPr/>
              </a:pPr>
              <a:t>‹#›</a:t>
            </a:fld>
            <a:endParaRPr lang="de-DE"/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2FC641E1-B8E3-413B-904A-2440DD1ED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810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2E1FDC18-783E-41B0-A0D2-168EE16F3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9B581941-4DFC-434A-86AA-4C1552688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24642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DB581137-3902-47A4-B44D-30D80149B4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26214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A208E58-4EC9-4B06-A80F-E2943394BD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27786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19039486-E685-4E1E-90DD-040C8A5525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0601" y="4942047"/>
            <a:ext cx="3036047" cy="956736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AE1C2790-44C2-4FE8-ABB1-D94E61B6F7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7978" y="4943791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56DAC46A-A81D-4BF6-853B-46D6CBA80C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469" y="4942047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9A11213-6B94-4070-B425-F3D4934CE78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42855" y="2647952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45B65062-1C74-4975-AB11-DD0AD47E1D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423504" y="2647952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4" name="Bildplatzhalter 6">
            <a:extLst>
              <a:ext uri="{FF2B5EF4-FFF2-40B4-BE49-F238E27FC236}">
                <a16:creationId xmlns:a16="http://schemas.microsoft.com/office/drawing/2014/main" id="{B8892F41-2115-496D-8249-7B6E9DA4EB7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45996" y="2647952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defTabSz="914377"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6667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3A081B37-E57B-48A2-AC9E-4C379D3B89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692" y="2494279"/>
            <a:ext cx="1044000" cy="1044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297B832-0F11-4184-8F58-81CF859E33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42643" y="1363879"/>
            <a:ext cx="1044000" cy="1044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58F55ED-DB6A-479A-B682-3AB85F09F6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74063" y="2494279"/>
            <a:ext cx="1044000" cy="1044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38F46AA-D2E1-4A9E-A65E-BF6590DA664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97867" y="1363879"/>
            <a:ext cx="1044000" cy="1044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EFAFAC9-23DC-43C2-9ADB-F76F4CE706E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23275" y="4940401"/>
            <a:ext cx="1044000" cy="1044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F36B00A-61CE-4138-B78D-643C3EE90EA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39297" y="3809901"/>
            <a:ext cx="1044000" cy="1044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6F6A55E-7A12-4A71-BB5D-BF0E01662F43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745033" y="4940401"/>
            <a:ext cx="1044000" cy="1044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CFACE34-BF9F-4E6D-9561-D540D2CF7D3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741439" y="3809901"/>
            <a:ext cx="1044000" cy="1044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413FF27-BA52-4273-A50A-F4100BB7D01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8285" y="2494279"/>
            <a:ext cx="1044000" cy="1044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3E35579-64AF-4682-AC8C-8FE30B29E3C7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09600" y="1363879"/>
            <a:ext cx="1044000" cy="1044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BAF70398-B919-4639-9C97-1ED35EDC7B8F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4896520" y="2494279"/>
            <a:ext cx="1044000" cy="1044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B424053-AFD7-4E94-BDBE-483630C81136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896520" y="1363879"/>
            <a:ext cx="1044000" cy="1044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03F1A61-6359-4273-B302-E846FF9B6314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107331" y="2494279"/>
            <a:ext cx="1044000" cy="1044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244A3B7D-14F6-4273-9FA2-ABD4F1E05843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8081504" y="1363879"/>
            <a:ext cx="1044000" cy="1044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22A49A86-9DE1-432A-9A12-E5E664D46A62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712464" y="2494279"/>
            <a:ext cx="1044000" cy="1044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B3ED136C-AFF3-4DE4-B377-1E83FC24B590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741439" y="1363879"/>
            <a:ext cx="1044000" cy="1044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5C6AD4FD-9D36-4DF8-A9BC-E107A62A8260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886881" y="4940401"/>
            <a:ext cx="1044000" cy="1044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9573D5A-5CE8-4ABA-8B10-DFC508FC9C30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811067" y="3809901"/>
            <a:ext cx="1044000" cy="1044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22D77ED-D0EC-480B-8F58-275A5C25D6DB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828451" y="2494279"/>
            <a:ext cx="1044000" cy="10440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6489A5EA-9CCC-4A15-A410-B2026DF0F238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3823547" y="1363879"/>
            <a:ext cx="1044000" cy="10440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DAA6DEA-6635-4248-AF8E-D44D50D7F16B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930881" y="4940401"/>
            <a:ext cx="1044000" cy="1044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AD1B1F4-9400-4057-84EE-557904E5B1A1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4879275" y="3809901"/>
            <a:ext cx="1044000" cy="10440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52C8BE19-2849-4FD4-A169-E1063DB50417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671811" y="3809901"/>
            <a:ext cx="1044000" cy="104400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4AA2F212-9470-496A-87E2-55B8A58EF4FA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678516" y="4940401"/>
            <a:ext cx="1044000" cy="104400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52F79728-FF7D-4B50-9478-536B0CB38F10}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609600" y="3809901"/>
            <a:ext cx="1044000" cy="10440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86CC9833-B63D-4885-89AF-0999C90FF18E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609600" y="4940401"/>
            <a:ext cx="1044000" cy="104400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35E9ECD9-E10E-4CBA-BF52-4670D794D592}"/>
              </a:ext>
            </a:extLst>
          </p:cNvPr>
          <p:cNvPicPr>
            <a:picLocks noChangeAspect="1"/>
          </p:cNvPicPr>
          <p:nvPr userDrawn="1"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8120863" y="3809901"/>
            <a:ext cx="1044000" cy="1044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AE32466E-9C49-47B3-AFAC-9704D0A86BEA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8174448" y="4940401"/>
            <a:ext cx="1044000" cy="1044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D1F1DB1D-D9AE-4D6B-8727-B6E25271C409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9230063" y="4940301"/>
            <a:ext cx="1044000" cy="1044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6FA8DC32-CC3B-41D8-BD42-0BD97DA6806F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9207329" y="3809901"/>
            <a:ext cx="1044000" cy="1044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9E30971E-6883-445B-883D-0CA8B2DA11F8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7024584" y="4940401"/>
            <a:ext cx="1044000" cy="10440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D621922B-D161-4786-8E9A-219FB2CC39E6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7030880" y="3809901"/>
            <a:ext cx="1044000" cy="10440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E0DDB2FD-F90D-41D7-B681-54C600089E09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668464" y="2494279"/>
            <a:ext cx="1044000" cy="10440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844CBE15-A36E-4639-872B-E2DD409D85E5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674513" y="1363879"/>
            <a:ext cx="1044000" cy="10440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12808483-DB95-4D93-A059-578112FE1EA6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7024584" y="1363879"/>
            <a:ext cx="1044000" cy="1044000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4F20F2D2-CEF1-4AF3-91EF-17308C8D6DE9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7002491" y="2494279"/>
            <a:ext cx="1044000" cy="1044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79B1C5B4-72F4-4F4C-89A5-843A94CB6958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5963445" y="1363879"/>
            <a:ext cx="1044000" cy="104400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F6C36229-30EB-405E-8BC0-F70774E67A6A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5923275" y="2494279"/>
            <a:ext cx="1044000" cy="10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42774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ild 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9762067" y="0"/>
            <a:ext cx="2032000" cy="11345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>
            <a:off x="0" y="-1708441"/>
            <a:ext cx="12192000" cy="1364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Formatfüllendes Bild als Folien-Hintergrund einfügen: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67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/>
              <a:ea typeface="+mn-ea"/>
              <a:cs typeface="Georgia"/>
            </a:endParaRP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Rechtsklick auf Folie &gt; Hintergrund formatieren &gt; Bild o. Struktur &gt; Bild auswählen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Die Bilder müsse ein Seitenverhältnis von 16:9 haben!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2540" y="123384"/>
            <a:ext cx="2176969" cy="791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83053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2BE1EF-4549-4392-A069-4A855D1DC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229584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06" imgH="306" progId="TCLayout.ActiveDocument.1">
                  <p:embed/>
                </p:oleObj>
              </mc:Choice>
              <mc:Fallback>
                <p:oleObj name="think-cell Folie" r:id="rId10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2BE1EF-4549-4392-A069-4A855D1DC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" name="Graphic 162">
            <a:extLst>
              <a:ext uri="{FF2B5EF4-FFF2-40B4-BE49-F238E27FC236}">
                <a16:creationId xmlns:a16="http://schemas.microsoft.com/office/drawing/2014/main" id="{1BA2B2E2-D574-4136-AC8E-1A4AE34A4EF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gray">
          <a:xfrm>
            <a:off x="623393" y="1160463"/>
            <a:ext cx="7662811" cy="4676116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defTabSz="914377">
              <a:defRPr/>
            </a:pPr>
            <a:fld id="{FB95B963-CBD6-47C4-B7CF-F60C897EE538}" type="slidenum">
              <a:rPr lang="de-DE" smtClean="0"/>
              <a:pPr defTabSz="914377">
                <a:defRPr/>
              </a:pPr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defTabSz="914377">
              <a:defRPr/>
            </a:pPr>
            <a:r>
              <a:rPr lang="de-DE"/>
              <a:t>TechTeam – IDSA Deck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0A788415-4FB8-4D5E-ABE7-08B6C31D6AFA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 bwMode="gray">
          <a:xfrm>
            <a:off x="5799773" y="5782337"/>
            <a:ext cx="1869416" cy="80683"/>
            <a:chOff x="9918885" y="5769260"/>
            <a:chExt cx="1568735" cy="67705"/>
          </a:xfrm>
        </p:grpSpPr>
        <p:sp>
          <p:nvSpPr>
            <p:cNvPr id="90" name="Graphic 8">
              <a:extLst>
                <a:ext uri="{FF2B5EF4-FFF2-40B4-BE49-F238E27FC236}">
                  <a16:creationId xmlns:a16="http://schemas.microsoft.com/office/drawing/2014/main" id="{C51955D0-F746-4E0D-9D2E-46995CCE6489}"/>
                </a:ext>
              </a:extLst>
            </p:cNvPr>
            <p:cNvSpPr/>
            <p:nvPr/>
          </p:nvSpPr>
          <p:spPr bwMode="gray">
            <a:xfrm>
              <a:off x="10510440" y="5769260"/>
              <a:ext cx="385624" cy="67705"/>
            </a:xfrm>
            <a:custGeom>
              <a:avLst/>
              <a:gdLst>
                <a:gd name="connsiteX0" fmla="*/ 343134 w 385624"/>
                <a:gd name="connsiteY0" fmla="*/ 74260 h 74475"/>
                <a:gd name="connsiteX1" fmla="*/ 43380 w 385624"/>
                <a:gd name="connsiteY1" fmla="*/ 74260 h 74475"/>
                <a:gd name="connsiteX2" fmla="*/ 445 w 385624"/>
                <a:gd name="connsiteY2" fmla="*/ 31855 h 74475"/>
                <a:gd name="connsiteX3" fmla="*/ 445 w 385624"/>
                <a:gd name="connsiteY3" fmla="*/ 31590 h 74475"/>
                <a:gd name="connsiteX4" fmla="*/ 445 w 385624"/>
                <a:gd name="connsiteY4" fmla="*/ -214 h 74475"/>
                <a:gd name="connsiteX5" fmla="*/ 386069 w 385624"/>
                <a:gd name="connsiteY5" fmla="*/ -214 h 74475"/>
                <a:gd name="connsiteX6" fmla="*/ 386069 w 385624"/>
                <a:gd name="connsiteY6" fmla="*/ 31590 h 74475"/>
                <a:gd name="connsiteX7" fmla="*/ 343399 w 385624"/>
                <a:gd name="connsiteY7" fmla="*/ 74260 h 74475"/>
                <a:gd name="connsiteX8" fmla="*/ 343134 w 385624"/>
                <a:gd name="connsiteY8" fmla="*/ 74260 h 7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624" h="74475">
                  <a:moveTo>
                    <a:pt x="343134" y="74260"/>
                  </a:moveTo>
                  <a:lnTo>
                    <a:pt x="43380" y="74260"/>
                  </a:lnTo>
                  <a:cubicBezTo>
                    <a:pt x="19819" y="74419"/>
                    <a:pt x="604" y="55416"/>
                    <a:pt x="445" y="31855"/>
                  </a:cubicBezTo>
                  <a:cubicBezTo>
                    <a:pt x="445" y="31775"/>
                    <a:pt x="445" y="31669"/>
                    <a:pt x="445" y="31590"/>
                  </a:cubicBezTo>
                  <a:lnTo>
                    <a:pt x="445" y="-214"/>
                  </a:lnTo>
                  <a:lnTo>
                    <a:pt x="386069" y="-214"/>
                  </a:lnTo>
                  <a:lnTo>
                    <a:pt x="386069" y="31590"/>
                  </a:lnTo>
                  <a:cubicBezTo>
                    <a:pt x="386069" y="55152"/>
                    <a:pt x="366960" y="74260"/>
                    <a:pt x="343399" y="74260"/>
                  </a:cubicBezTo>
                  <a:cubicBezTo>
                    <a:pt x="343319" y="74260"/>
                    <a:pt x="343213" y="74260"/>
                    <a:pt x="343134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Graphic 8">
              <a:extLst>
                <a:ext uri="{FF2B5EF4-FFF2-40B4-BE49-F238E27FC236}">
                  <a16:creationId xmlns:a16="http://schemas.microsoft.com/office/drawing/2014/main" id="{C5750388-5D98-494D-90ED-EC3ABB1117EC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11101996" y="5769260"/>
              <a:ext cx="385624" cy="67705"/>
            </a:xfrm>
            <a:custGeom>
              <a:avLst/>
              <a:gdLst>
                <a:gd name="connsiteX0" fmla="*/ 343133 w 385624"/>
                <a:gd name="connsiteY0" fmla="*/ 74260 h 74475"/>
                <a:gd name="connsiteX1" fmla="*/ 43380 w 385624"/>
                <a:gd name="connsiteY1" fmla="*/ 74260 h 74475"/>
                <a:gd name="connsiteX2" fmla="*/ 445 w 385624"/>
                <a:gd name="connsiteY2" fmla="*/ 31855 h 74475"/>
                <a:gd name="connsiteX3" fmla="*/ 445 w 385624"/>
                <a:gd name="connsiteY3" fmla="*/ 31590 h 74475"/>
                <a:gd name="connsiteX4" fmla="*/ 445 w 385624"/>
                <a:gd name="connsiteY4" fmla="*/ -214 h 74475"/>
                <a:gd name="connsiteX5" fmla="*/ 386069 w 385624"/>
                <a:gd name="connsiteY5" fmla="*/ -214 h 74475"/>
                <a:gd name="connsiteX6" fmla="*/ 386069 w 385624"/>
                <a:gd name="connsiteY6" fmla="*/ 31590 h 74475"/>
                <a:gd name="connsiteX7" fmla="*/ 343399 w 385624"/>
                <a:gd name="connsiteY7" fmla="*/ 74260 h 74475"/>
                <a:gd name="connsiteX8" fmla="*/ 343133 w 385624"/>
                <a:gd name="connsiteY8" fmla="*/ 74260 h 7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624" h="74475">
                  <a:moveTo>
                    <a:pt x="343133" y="74260"/>
                  </a:moveTo>
                  <a:lnTo>
                    <a:pt x="43380" y="74260"/>
                  </a:lnTo>
                  <a:cubicBezTo>
                    <a:pt x="19819" y="74419"/>
                    <a:pt x="604" y="55416"/>
                    <a:pt x="445" y="31855"/>
                  </a:cubicBezTo>
                  <a:cubicBezTo>
                    <a:pt x="445" y="31775"/>
                    <a:pt x="445" y="31669"/>
                    <a:pt x="445" y="31590"/>
                  </a:cubicBezTo>
                  <a:lnTo>
                    <a:pt x="445" y="-214"/>
                  </a:lnTo>
                  <a:lnTo>
                    <a:pt x="386069" y="-214"/>
                  </a:lnTo>
                  <a:lnTo>
                    <a:pt x="386069" y="31590"/>
                  </a:lnTo>
                  <a:cubicBezTo>
                    <a:pt x="386069" y="55152"/>
                    <a:pt x="366960" y="74260"/>
                    <a:pt x="343399" y="74260"/>
                  </a:cubicBezTo>
                  <a:cubicBezTo>
                    <a:pt x="343319" y="74260"/>
                    <a:pt x="343213" y="74260"/>
                    <a:pt x="343133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Graphic 8">
              <a:extLst>
                <a:ext uri="{FF2B5EF4-FFF2-40B4-BE49-F238E27FC236}">
                  <a16:creationId xmlns:a16="http://schemas.microsoft.com/office/drawing/2014/main" id="{C825B732-0A00-44B2-83C8-4B12124089AE}"/>
                </a:ext>
              </a:extLst>
            </p:cNvPr>
            <p:cNvSpPr/>
            <p:nvPr/>
          </p:nvSpPr>
          <p:spPr bwMode="gray">
            <a:xfrm>
              <a:off x="9918885" y="5769260"/>
              <a:ext cx="385624" cy="67704"/>
            </a:xfrm>
            <a:custGeom>
              <a:avLst/>
              <a:gdLst>
                <a:gd name="connsiteX0" fmla="*/ 343399 w 385624"/>
                <a:gd name="connsiteY0" fmla="*/ 74260 h 74474"/>
                <a:gd name="connsiteX1" fmla="*/ 43381 w 385624"/>
                <a:gd name="connsiteY1" fmla="*/ 74260 h 74474"/>
                <a:gd name="connsiteX2" fmla="*/ 445 w 385624"/>
                <a:gd name="connsiteY2" fmla="*/ 31590 h 74474"/>
                <a:gd name="connsiteX3" fmla="*/ 445 w 385624"/>
                <a:gd name="connsiteY3" fmla="*/ -214 h 74474"/>
                <a:gd name="connsiteX4" fmla="*/ 386070 w 385624"/>
                <a:gd name="connsiteY4" fmla="*/ -214 h 74474"/>
                <a:gd name="connsiteX5" fmla="*/ 386070 w 385624"/>
                <a:gd name="connsiteY5" fmla="*/ 31590 h 74474"/>
                <a:gd name="connsiteX6" fmla="*/ 343399 w 385624"/>
                <a:gd name="connsiteY6" fmla="*/ 74260 h 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5624" h="74474">
                  <a:moveTo>
                    <a:pt x="343399" y="74260"/>
                  </a:moveTo>
                  <a:lnTo>
                    <a:pt x="43381" y="74260"/>
                  </a:lnTo>
                  <a:cubicBezTo>
                    <a:pt x="19766" y="74260"/>
                    <a:pt x="604" y="55204"/>
                    <a:pt x="445" y="31590"/>
                  </a:cubicBezTo>
                  <a:lnTo>
                    <a:pt x="445" y="-214"/>
                  </a:lnTo>
                  <a:lnTo>
                    <a:pt x="386070" y="-214"/>
                  </a:lnTo>
                  <a:lnTo>
                    <a:pt x="386070" y="31590"/>
                  </a:lnTo>
                  <a:cubicBezTo>
                    <a:pt x="386070" y="55152"/>
                    <a:pt x="366960" y="74260"/>
                    <a:pt x="343399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3" name="Rechteck 22">
            <a:extLst>
              <a:ext uri="{FF2B5EF4-FFF2-40B4-BE49-F238E27FC236}">
                <a16:creationId xmlns:a16="http://schemas.microsoft.com/office/drawing/2014/main" id="{CBFE8A66-761E-4E06-817D-7AF9DB96F34A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1" y="4797292"/>
            <a:ext cx="1703388" cy="1260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26000" bIns="72000"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9FE3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6" name="Rechteck 22">
            <a:extLst>
              <a:ext uri="{FF2B5EF4-FFF2-40B4-BE49-F238E27FC236}">
                <a16:creationId xmlns:a16="http://schemas.microsoft.com/office/drawing/2014/main" id="{54AD9F60-B627-4700-A183-E0B33451AB7E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8904592" y="116074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263482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67" name="Text Placeholder 3">
            <a:extLst>
              <a:ext uri="{FF2B5EF4-FFF2-40B4-BE49-F238E27FC236}">
                <a16:creationId xmlns:a16="http://schemas.microsoft.com/office/drawing/2014/main" id="{8D0DE548-E9D2-4F6A-BE14-E240D13F2AE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32609" y="123275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504000" tIns="288000" rIns="144000" bIns="14400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170" name="Text Placeholder 3">
            <a:extLst>
              <a:ext uri="{FF2B5EF4-FFF2-40B4-BE49-F238E27FC236}">
                <a16:creationId xmlns:a16="http://schemas.microsoft.com/office/drawing/2014/main" id="{E7DA00C2-CB7D-4D2E-9439-3F6D7D89A8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324" y="4948924"/>
            <a:ext cx="1692064" cy="956736"/>
          </a:xfrm>
        </p:spPr>
        <p:txBody>
          <a:bodyPr lIns="0" tIns="0" rIns="144000" bIns="0" anchor="ctr" anchorCtr="0">
            <a:noAutofit/>
          </a:bodyPr>
          <a:lstStyle>
            <a:lvl1pPr algn="r">
              <a:buNone/>
              <a:defRPr sz="4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2" name="Text Placeholder 3">
            <a:extLst>
              <a:ext uri="{FF2B5EF4-FFF2-40B4-BE49-F238E27FC236}">
                <a16:creationId xmlns:a16="http://schemas.microsoft.com/office/drawing/2014/main" id="{76310A97-B96F-4013-8E01-4AC633F792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58144" y="130267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4" name="Rechteck 22">
            <a:extLst>
              <a:ext uri="{FF2B5EF4-FFF2-40B4-BE49-F238E27FC236}">
                <a16:creationId xmlns:a16="http://schemas.microsoft.com/office/drawing/2014/main" id="{FFA0F5B5-F586-4B10-A55A-AE332A18EB45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8904592" y="440110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263482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75" name="Text Placeholder 3">
            <a:extLst>
              <a:ext uri="{FF2B5EF4-FFF2-40B4-BE49-F238E27FC236}">
                <a16:creationId xmlns:a16="http://schemas.microsoft.com/office/drawing/2014/main" id="{EC7278C5-627E-4081-BE78-7DC81DD7D7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32609" y="447311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lIns="504000" tIns="288000" rIns="144000" bIns="144000" rtlCol="0">
            <a:normAutofit/>
          </a:bodyPr>
          <a:lstStyle>
            <a:lvl1pPr marL="0" indent="0">
              <a:buNone/>
              <a:defRPr lang="en-GB" sz="2000" b="1" dirty="0">
                <a:solidFill>
                  <a:schemeClr val="tx2"/>
                </a:solidFill>
              </a:defRPr>
            </a:lvl1pPr>
          </a:lstStyle>
          <a:p>
            <a:pPr marL="228594" lvl="0" indent="-228594">
              <a:lnSpc>
                <a:spcPct val="100000"/>
              </a:lnSpc>
              <a:spcBef>
                <a:spcPts val="0"/>
              </a:spcBef>
            </a:pPr>
            <a:r>
              <a:rPr lang="en-GB"/>
              <a:t>Description</a:t>
            </a:r>
          </a:p>
        </p:txBody>
      </p:sp>
      <p:sp>
        <p:nvSpPr>
          <p:cNvPr id="176" name="Text Placeholder 3">
            <a:extLst>
              <a:ext uri="{FF2B5EF4-FFF2-40B4-BE49-F238E27FC236}">
                <a16:creationId xmlns:a16="http://schemas.microsoft.com/office/drawing/2014/main" id="{ABF5F8D6-B992-449F-AAEC-B7D513D9B5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58144" y="454303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7" name="Rechteck 22">
            <a:extLst>
              <a:ext uri="{FF2B5EF4-FFF2-40B4-BE49-F238E27FC236}">
                <a16:creationId xmlns:a16="http://schemas.microsoft.com/office/drawing/2014/main" id="{3532B7CB-D4B0-4DB1-B04F-8E1E31CD9522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gray">
          <a:xfrm>
            <a:off x="8904592" y="278092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263482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78" name="Text Placeholder 3">
            <a:extLst>
              <a:ext uri="{FF2B5EF4-FFF2-40B4-BE49-F238E27FC236}">
                <a16:creationId xmlns:a16="http://schemas.microsoft.com/office/drawing/2014/main" id="{1175D43F-A21E-4E54-8D17-AD2BF60BB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32609" y="285293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lIns="504000" tIns="288000" rIns="144000" bIns="144000" rtlCol="0">
            <a:normAutofit/>
          </a:bodyPr>
          <a:lstStyle>
            <a:lvl1pPr marL="0" indent="0">
              <a:buNone/>
              <a:defRPr lang="en-GB" sz="2000" b="1" dirty="0">
                <a:solidFill>
                  <a:schemeClr val="tx2"/>
                </a:solidFill>
              </a:defRPr>
            </a:lvl1pPr>
          </a:lstStyle>
          <a:p>
            <a:pPr marL="228594" lvl="0" indent="-228594">
              <a:lnSpc>
                <a:spcPct val="100000"/>
              </a:lnSpc>
              <a:spcBef>
                <a:spcPts val="0"/>
              </a:spcBef>
            </a:pPr>
            <a:r>
              <a:rPr lang="en-GB"/>
              <a:t>Description</a:t>
            </a:r>
          </a:p>
        </p:txBody>
      </p:sp>
      <p:sp>
        <p:nvSpPr>
          <p:cNvPr id="179" name="Text Placeholder 3">
            <a:extLst>
              <a:ext uri="{FF2B5EF4-FFF2-40B4-BE49-F238E27FC236}">
                <a16:creationId xmlns:a16="http://schemas.microsoft.com/office/drawing/2014/main" id="{7A047DE7-3B3C-491D-9211-B8A383ABE4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58144" y="292285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811343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 Headline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405909" y="2286003"/>
            <a:ext cx="11244224" cy="3545447"/>
          </a:xfrm>
          <a:prstGeom prst="rect">
            <a:avLst/>
          </a:prstGeom>
        </p:spPr>
        <p:txBody>
          <a:bodyPr anchor="t">
            <a:normAutofit/>
          </a:bodyPr>
          <a:lstStyle>
            <a:lvl1pPr marL="239167" marR="0" indent="-239167" algn="l" defTabSz="609555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133" baseline="0">
                <a:solidFill>
                  <a:schemeClr val="tx1"/>
                </a:solidFill>
              </a:defRPr>
            </a:lvl1pPr>
            <a:lvl2pPr marL="478331" indent="-228584">
              <a:buFont typeface="Symbol" panose="05050102010706020507" pitchFamily="18" charset="2"/>
              <a:buChar char="-"/>
              <a:defRPr sz="1600" baseline="0">
                <a:solidFill>
                  <a:schemeClr val="tx1"/>
                </a:solidFill>
              </a:defRPr>
            </a:lvl2pPr>
            <a:lvl3pPr marL="598973" indent="-110059">
              <a:buFont typeface="Arial" panose="020B0604020202020204" pitchFamily="34" charset="0"/>
              <a:buChar char="•"/>
              <a:defRPr sz="1067">
                <a:solidFill>
                  <a:schemeClr val="tx1"/>
                </a:solidFill>
              </a:defRPr>
            </a:lvl3pPr>
            <a:lvl4pPr marL="833906" indent="-256098">
              <a:buFont typeface="Symbol" panose="05050102010706020507" pitchFamily="18" charset="2"/>
              <a:buChar char="-"/>
              <a:tabLst>
                <a:tab pos="833906" algn="l"/>
                <a:tab pos="1077304" algn="l"/>
              </a:tabLst>
              <a:defRPr sz="1867" baseline="0">
                <a:solidFill>
                  <a:schemeClr val="tx1"/>
                </a:solidFill>
              </a:defRPr>
            </a:lvl4pPr>
            <a:lvl5pPr marL="1077304" indent="-262447">
              <a:buFont typeface="Georgia" panose="02040502050405020303" pitchFamily="18" charset="0"/>
              <a:buChar char="»"/>
              <a:defRPr sz="1867">
                <a:solidFill>
                  <a:schemeClr val="tx1"/>
                </a:solidFill>
              </a:defRPr>
            </a:lvl5pPr>
            <a:lvl6pPr marL="30477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3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88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43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n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marL="0" marR="0" lvl="0" indent="0" algn="l" defTabSz="609555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de-DE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2135" y="206265"/>
            <a:ext cx="2091868" cy="759961"/>
          </a:xfrm>
          <a:prstGeom prst="rect">
            <a:avLst/>
          </a:prstGeom>
        </p:spPr>
      </p:pic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412275" y="694267"/>
            <a:ext cx="9349792" cy="795868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24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err="1"/>
              <a:t>Theme</a:t>
            </a:r>
            <a:r>
              <a:rPr lang="de-DE"/>
              <a:t> Headline</a:t>
            </a:r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06401" y="1490137"/>
            <a:ext cx="9355667" cy="79586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24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err="1"/>
              <a:t>Subtitle</a:t>
            </a:r>
            <a:endParaRPr lang="de-DE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406385" y="6310788"/>
            <a:ext cx="23958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BA2E3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www.internationaldataspaces.org</a:t>
            </a:r>
          </a:p>
        </p:txBody>
      </p:sp>
      <p:sp>
        <p:nvSpPr>
          <p:cNvPr id="15" name="Foliennummernplatzhalter 5"/>
          <p:cNvSpPr txBox="1">
            <a:spLocks/>
          </p:cNvSpPr>
          <p:nvPr userDrawn="1"/>
        </p:nvSpPr>
        <p:spPr>
          <a:xfrm>
            <a:off x="10351214" y="6360590"/>
            <a:ext cx="1409417" cy="226313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189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/</a:t>
            </a:r>
            <a:r>
              <a:rPr kumimoji="0" lang="de-DE" sz="1067" b="0" i="0" u="none" strike="noStrike" kern="1200" cap="none" spc="0" normalizeH="0" baseline="0" noProof="0">
                <a:ln>
                  <a:noFill/>
                </a:ln>
                <a:solidFill>
                  <a:srgbClr val="0092D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fld id="{DA28A8A7-1DE1-8B42-B22F-FAE404325B08}" type="slidenum">
              <a:rPr kumimoji="0" lang="de-DE" sz="1067" b="0" i="0" u="none" strike="noStrike" kern="1200" cap="none" spc="0" normalizeH="0" baseline="0" noProof="0" smtClean="0">
                <a:ln>
                  <a:noFill/>
                </a:ln>
                <a:solidFill>
                  <a:srgbClr val="0BA2E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67" b="0" i="0" u="none" strike="noStrike" kern="1200" cap="none" spc="0" normalizeH="0" baseline="0" noProof="0">
              <a:ln>
                <a:noFill/>
              </a:ln>
              <a:solidFill>
                <a:srgbClr val="0BA2E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2349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29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838202" y="368300"/>
            <a:ext cx="8110591" cy="792163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839789" y="1160463"/>
            <a:ext cx="10512425" cy="558800"/>
          </a:xfrm>
        </p:spPr>
        <p:txBody>
          <a:bodyPr>
            <a:noAutofit/>
          </a:bodyPr>
          <a:lstStyle>
            <a:lvl1pPr marL="0" indent="0" algn="l" defTabSz="121914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2600" i="1" kern="1200" dirty="0">
                <a:solidFill>
                  <a:srgbClr val="00B7F3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609570" indent="0">
              <a:buFontTx/>
              <a:buNone/>
              <a:defRPr/>
            </a:lvl2pPr>
            <a:lvl3pPr marL="1219140" indent="0">
              <a:buFontTx/>
              <a:buNone/>
              <a:defRPr/>
            </a:lvl3pPr>
            <a:lvl4pPr marL="1828709" indent="0">
              <a:buFontTx/>
              <a:buNone/>
              <a:defRPr/>
            </a:lvl4pPr>
            <a:lvl5pPr marL="2438278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839789" y="2168525"/>
            <a:ext cx="10512425" cy="362902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70" indent="0">
              <a:spcBef>
                <a:spcPts val="0"/>
              </a:spcBef>
              <a:buFontTx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40" indent="0">
              <a:spcBef>
                <a:spcPts val="0"/>
              </a:spcBef>
              <a:buFontTx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09" indent="0">
              <a:spcBef>
                <a:spcPts val="0"/>
              </a:spcBef>
              <a:buFontTx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278" indent="0">
              <a:spcBef>
                <a:spcPts val="0"/>
              </a:spcBef>
              <a:buFontTx/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08FE6A85-41EF-435D-88EE-E150B925D8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8887E61E-3D97-4035-B67C-4DB531DC70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3144882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76686B-C7F0-4550-964B-0F94297FDD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Footer to be defin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314E68-A308-40D3-BFBE-C7C75D45F5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5789678-CB8F-4BAB-AB86-A094C6759B55}" type="slidenum">
              <a:rPr lang="en-GB" smtClean="0"/>
              <a:pPr/>
              <a:t>‹#›</a:t>
            </a:fld>
            <a:endParaRPr lang="en-GB">
              <a:latin typeface="Droid Sans" panose="020B0606030804020204" pitchFamily="34" charset="0"/>
            </a:endParaRP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A50A7945-1CD5-4274-A797-AB09EAFCAE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6026" y="365126"/>
            <a:ext cx="1940852" cy="574857"/>
          </a:xfrm>
          <a:prstGeom prst="rect">
            <a:avLst/>
          </a:prstGeom>
        </p:spPr>
      </p:pic>
      <p:pic>
        <p:nvPicPr>
          <p:cNvPr id="7" name="Picture 7" descr="Text, logo&#10;&#10;Description automatically generated">
            <a:extLst>
              <a:ext uri="{FF2B5EF4-FFF2-40B4-BE49-F238E27FC236}">
                <a16:creationId xmlns:a16="http://schemas.microsoft.com/office/drawing/2014/main" id="{60E1DF16-6965-4A9D-97C4-E02BE1310D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641" y="161019"/>
            <a:ext cx="2562395" cy="931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3149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|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FF6C3A47-D24D-437C-8C58-6578B753805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bIns="828000" anchor="ctr">
            <a:normAutofit/>
          </a:bodyPr>
          <a:lstStyle>
            <a:lvl1pPr algn="ctr">
              <a:defRPr sz="1200"/>
            </a:lvl1pPr>
          </a:lstStyle>
          <a:p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3A9AEAA-16C3-41C3-A7B7-1098994EE40E}"/>
              </a:ext>
            </a:extLst>
          </p:cNvPr>
          <p:cNvSpPr/>
          <p:nvPr userDrawn="1"/>
        </p:nvSpPr>
        <p:spPr bwMode="gray">
          <a:xfrm>
            <a:off x="767408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4DBD4BB-292B-4760-BF40-DA8D56FA3AE2}"/>
              </a:ext>
            </a:extLst>
          </p:cNvPr>
          <p:cNvSpPr/>
          <p:nvPr userDrawn="1"/>
        </p:nvSpPr>
        <p:spPr bwMode="gray">
          <a:xfrm>
            <a:off x="2134960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C5BAC43-B9EA-41CE-BA8E-88265BBED7D3}"/>
              </a:ext>
            </a:extLst>
          </p:cNvPr>
          <p:cNvSpPr/>
          <p:nvPr userDrawn="1"/>
        </p:nvSpPr>
        <p:spPr bwMode="gray">
          <a:xfrm>
            <a:off x="3503232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15B8B3A-A4F0-4607-BBAE-C29903ACEC5B}"/>
              </a:ext>
            </a:extLst>
          </p:cNvPr>
          <p:cNvSpPr/>
          <p:nvPr userDrawn="1"/>
        </p:nvSpPr>
        <p:spPr bwMode="gray">
          <a:xfrm>
            <a:off x="4871504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51682A4-D503-4705-BEFD-A76B237EE00B}"/>
              </a:ext>
            </a:extLst>
          </p:cNvPr>
          <p:cNvSpPr/>
          <p:nvPr userDrawn="1"/>
        </p:nvSpPr>
        <p:spPr bwMode="gray">
          <a:xfrm>
            <a:off x="6239776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B701514-3F93-4B11-A17D-7C51BA025700}"/>
              </a:ext>
            </a:extLst>
          </p:cNvPr>
          <p:cNvSpPr/>
          <p:nvPr userDrawn="1"/>
        </p:nvSpPr>
        <p:spPr bwMode="gray">
          <a:xfrm>
            <a:off x="7608048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A0A138B-49BC-49A3-8D90-059C30468FDB}"/>
              </a:ext>
            </a:extLst>
          </p:cNvPr>
          <p:cNvSpPr/>
          <p:nvPr userDrawn="1"/>
        </p:nvSpPr>
        <p:spPr bwMode="gray">
          <a:xfrm>
            <a:off x="8976320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B5AA852F-80E1-4C3A-8BCD-E30CE5D37D70}"/>
              </a:ext>
            </a:extLst>
          </p:cNvPr>
          <p:cNvSpPr/>
          <p:nvPr userDrawn="1"/>
        </p:nvSpPr>
        <p:spPr bwMode="gray">
          <a:xfrm>
            <a:off x="10344592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593858F5-4687-47AF-A000-65E342C5B88C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 bwMode="gray">
          <a:xfrm>
            <a:off x="767408" y="5229296"/>
            <a:ext cx="5040000" cy="864000"/>
          </a:xfrm>
        </p:spPr>
        <p:txBody>
          <a:bodyPr>
            <a:noAutofit/>
          </a:bodyPr>
          <a:lstStyle>
            <a:lvl1pPr marL="1588" indent="0" algn="l">
              <a:spcBef>
                <a:spcPts val="0"/>
              </a:spcBef>
              <a:buNone/>
              <a:defRPr sz="1800" i="0">
                <a:solidFill>
                  <a:schemeClr val="bg1"/>
                </a:solidFill>
                <a:latin typeface="+mn-lt"/>
              </a:defRPr>
            </a:lvl1pPr>
            <a:lvl2pPr marL="1588" indent="0" algn="l">
              <a:spcBef>
                <a:spcPts val="0"/>
              </a:spcBef>
              <a:buNone/>
              <a:defRPr sz="1800" i="0">
                <a:solidFill>
                  <a:schemeClr val="bg1"/>
                </a:solidFill>
                <a:latin typeface="+mn-lt"/>
              </a:defRPr>
            </a:lvl2pPr>
            <a:lvl3pPr marL="1588" indent="0" algn="l">
              <a:spcBef>
                <a:spcPts val="0"/>
              </a:spcBef>
              <a:buNone/>
              <a:defRPr sz="1800" i="0">
                <a:solidFill>
                  <a:schemeClr val="bg1"/>
                </a:solidFill>
                <a:latin typeface="+mn-lt"/>
              </a:defRPr>
            </a:lvl3pPr>
            <a:lvl4pPr marL="1588" indent="0" algn="l">
              <a:spcBef>
                <a:spcPts val="0"/>
              </a:spcBef>
              <a:buNone/>
              <a:defRPr sz="1800" i="0">
                <a:solidFill>
                  <a:schemeClr val="bg1"/>
                </a:solidFill>
                <a:latin typeface="+mn-lt"/>
              </a:defRPr>
            </a:lvl4pPr>
            <a:lvl5pPr marL="1588" indent="0" algn="l">
              <a:spcBef>
                <a:spcPts val="0"/>
              </a:spcBef>
              <a:buNone/>
              <a:defRPr sz="1800" i="0">
                <a:solidFill>
                  <a:schemeClr val="bg1"/>
                </a:solidFill>
                <a:latin typeface="+mn-lt"/>
              </a:defRPr>
            </a:lvl5pPr>
            <a:lvl6pPr marL="1588" indent="0" algn="l">
              <a:spcBef>
                <a:spcPts val="0"/>
              </a:spcBef>
              <a:buNone/>
              <a:defRPr sz="1800" i="0">
                <a:solidFill>
                  <a:schemeClr val="bg1"/>
                </a:solidFill>
                <a:latin typeface="+mn-lt"/>
              </a:defRPr>
            </a:lvl6pPr>
            <a:lvl7pPr marL="1588" indent="0" algn="l">
              <a:spcBef>
                <a:spcPts val="0"/>
              </a:spcBef>
              <a:buNone/>
              <a:defRPr sz="1800" i="0">
                <a:solidFill>
                  <a:schemeClr val="bg1"/>
                </a:solidFill>
                <a:latin typeface="+mn-lt"/>
              </a:defRPr>
            </a:lvl7pPr>
            <a:lvl8pPr marL="1588" indent="0" algn="l">
              <a:spcBef>
                <a:spcPts val="0"/>
              </a:spcBef>
              <a:buNone/>
              <a:defRPr sz="1800" i="0">
                <a:solidFill>
                  <a:schemeClr val="bg1"/>
                </a:solidFill>
                <a:latin typeface="+mn-lt"/>
              </a:defRPr>
            </a:lvl8pPr>
            <a:lvl9pPr marL="1588" indent="0" algn="l">
              <a:spcBef>
                <a:spcPts val="0"/>
              </a:spcBef>
              <a:buNone/>
              <a:defRPr sz="1800" i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err="1"/>
              <a:t>Optionaler</a:t>
            </a:r>
            <a:r>
              <a:rPr lang="en-GB"/>
              <a:t> Text</a:t>
            </a:r>
          </a:p>
          <a:p>
            <a:pPr lvl="1"/>
            <a:r>
              <a:rPr lang="en-GB"/>
              <a:t>Zwei</a:t>
            </a:r>
          </a:p>
          <a:p>
            <a:pPr lvl="2"/>
            <a:r>
              <a:rPr lang="en-GB" err="1"/>
              <a:t>Drei</a:t>
            </a:r>
            <a:endParaRPr lang="en-GB"/>
          </a:p>
          <a:p>
            <a:pPr lvl="3"/>
            <a:r>
              <a:rPr lang="en-GB" err="1"/>
              <a:t>Vier</a:t>
            </a:r>
            <a:endParaRPr lang="en-GB"/>
          </a:p>
          <a:p>
            <a:pPr lvl="4"/>
            <a:r>
              <a:rPr lang="en-GB" err="1"/>
              <a:t>Fünf</a:t>
            </a:r>
            <a:endParaRPr lang="en-GB"/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FC90B4A-5427-4B6F-86E8-848B8D309DA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" y="4234857"/>
            <a:ext cx="6166964" cy="706311"/>
          </a:xfrm>
          <a:solidFill>
            <a:schemeClr val="tx1"/>
          </a:solidFill>
        </p:spPr>
        <p:txBody>
          <a:bodyPr wrap="none" lIns="756000" tIns="144000" rIns="144000" bIns="144000" anchor="ctr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513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3" userDrawn="1">
          <p15:clr>
            <a:srgbClr val="5ACBF0"/>
          </p15:clr>
        </p15:guide>
        <p15:guide id="2" pos="7197" userDrawn="1">
          <p15:clr>
            <a:srgbClr val="5ACBF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7" y="2165353"/>
            <a:ext cx="10512407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2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667269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4335" y="60559"/>
            <a:ext cx="3875043" cy="1408023"/>
          </a:xfrm>
          <a:prstGeom prst="rect">
            <a:avLst/>
          </a:prstGeom>
        </p:spPr>
      </p:pic>
      <p:sp>
        <p:nvSpPr>
          <p:cNvPr id="11" name="Foliennummernplatzhalter 5"/>
          <p:cNvSpPr txBox="1">
            <a:spLocks/>
          </p:cNvSpPr>
          <p:nvPr userDrawn="1"/>
        </p:nvSpPr>
        <p:spPr>
          <a:xfrm>
            <a:off x="10611703" y="6320504"/>
            <a:ext cx="1148925" cy="226313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>
                <a:solidFill>
                  <a:schemeClr val="tx1"/>
                </a:solidFill>
              </a:rPr>
              <a:t>//</a:t>
            </a:r>
            <a:r>
              <a:rPr lang="de-DE" sz="1067"/>
              <a:t> </a:t>
            </a:r>
            <a:fld id="{8E821C83-84D4-BF47-9BEB-DE7BBACF0AD8}" type="slidenum">
              <a:rPr lang="de-DE" sz="1067" smtClean="0"/>
              <a:pPr/>
              <a:t>‹#›</a:t>
            </a:fld>
            <a:endParaRPr lang="de-DE" sz="1067"/>
          </a:p>
        </p:txBody>
      </p:sp>
      <p:sp>
        <p:nvSpPr>
          <p:cNvPr id="8" name="Rechteck 7"/>
          <p:cNvSpPr/>
          <p:nvPr userDrawn="1"/>
        </p:nvSpPr>
        <p:spPr>
          <a:xfrm>
            <a:off x="0" y="2279154"/>
            <a:ext cx="12192000" cy="4578847"/>
          </a:xfrm>
          <a:prstGeom prst="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BA2E3"/>
              </a:solidFill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328940" y="2734733"/>
            <a:ext cx="7572464" cy="1281603"/>
          </a:xfrm>
          <a:prstGeom prst="rect">
            <a:avLst/>
          </a:prstGeom>
        </p:spPr>
        <p:txBody>
          <a:bodyPr bIns="0" anchor="b">
            <a:noAutofit/>
          </a:bodyPr>
          <a:lstStyle>
            <a:lvl1pPr algn="r">
              <a:lnSpc>
                <a:spcPct val="80000"/>
              </a:lnSpc>
              <a:spcAft>
                <a:spcPts val="0"/>
              </a:spcAft>
              <a:defRPr sz="4800" b="1" cap="all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PP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12734" y="5317067"/>
            <a:ext cx="3395133" cy="4910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80000"/>
              </a:lnSpc>
              <a:buNone/>
              <a:defRPr sz="1333" cap="all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KURZBESCHREIBUNG</a:t>
            </a:r>
          </a:p>
          <a:p>
            <a:pPr lvl="0"/>
            <a:r>
              <a:rPr lang="de-DE"/>
              <a:t>ÜBER MEHRERE ZEIL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35305" y="4016337"/>
            <a:ext cx="7572464" cy="13684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lnSpc>
                <a:spcPct val="80000"/>
              </a:lnSpc>
              <a:buNone/>
              <a:defRPr sz="4800" cap="all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Titelzusatz</a:t>
            </a:r>
          </a:p>
        </p:txBody>
      </p:sp>
    </p:spTree>
    <p:extLst>
      <p:ext uri="{BB962C8B-B14F-4D97-AF65-F5344CB8AC3E}">
        <p14:creationId xmlns:p14="http://schemas.microsoft.com/office/powerpoint/2010/main" val="410428283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6" y="2165352"/>
            <a:ext cx="10512407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395980647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394" y="1273923"/>
            <a:ext cx="10512407" cy="4888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153105927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6" y="2165352"/>
            <a:ext cx="5148245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7AE868-13D3-4D28-A8E4-F635F770F6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7439" y="2168525"/>
            <a:ext cx="5184775" cy="36004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127208918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4" y="2165352"/>
            <a:ext cx="6480000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BADABE6-3453-400C-A405-40E92F11ED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16195" y="2165350"/>
            <a:ext cx="3636000" cy="3603625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170548408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E80C4A-E133-4D33-A918-188A03B20D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8AF9B4-D53B-48CC-B719-350DF8315F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426676922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+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DF379BB-6F1E-48A1-82A2-A4C682BB95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89" y="1624013"/>
            <a:ext cx="10514012" cy="41449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36267216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57612026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2BE1EF-4549-4392-A069-4A855D1DC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2566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06" imgH="306" progId="TCLayout.ActiveDocument.1">
                  <p:embed/>
                </p:oleObj>
              </mc:Choice>
              <mc:Fallback>
                <p:oleObj name="think-cell Folie" r:id="rId10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2BE1EF-4549-4392-A069-4A855D1DC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" name="Graphic 162">
            <a:extLst>
              <a:ext uri="{FF2B5EF4-FFF2-40B4-BE49-F238E27FC236}">
                <a16:creationId xmlns:a16="http://schemas.microsoft.com/office/drawing/2014/main" id="{1BA2B2E2-D574-4136-AC8E-1A4AE34A4EF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gray">
          <a:xfrm>
            <a:off x="623393" y="1160463"/>
            <a:ext cx="7662811" cy="4676116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0A788415-4FB8-4D5E-ABE7-08B6C31D6AFA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 bwMode="gray">
          <a:xfrm>
            <a:off x="5799773" y="5782337"/>
            <a:ext cx="1869416" cy="80683"/>
            <a:chOff x="9918885" y="5769260"/>
            <a:chExt cx="1568735" cy="67705"/>
          </a:xfrm>
        </p:grpSpPr>
        <p:sp>
          <p:nvSpPr>
            <p:cNvPr id="90" name="Graphic 8">
              <a:extLst>
                <a:ext uri="{FF2B5EF4-FFF2-40B4-BE49-F238E27FC236}">
                  <a16:creationId xmlns:a16="http://schemas.microsoft.com/office/drawing/2014/main" id="{C51955D0-F746-4E0D-9D2E-46995CCE6489}"/>
                </a:ext>
              </a:extLst>
            </p:cNvPr>
            <p:cNvSpPr/>
            <p:nvPr/>
          </p:nvSpPr>
          <p:spPr bwMode="gray">
            <a:xfrm>
              <a:off x="10510440" y="5769260"/>
              <a:ext cx="385624" cy="67705"/>
            </a:xfrm>
            <a:custGeom>
              <a:avLst/>
              <a:gdLst>
                <a:gd name="connsiteX0" fmla="*/ 343134 w 385624"/>
                <a:gd name="connsiteY0" fmla="*/ 74260 h 74475"/>
                <a:gd name="connsiteX1" fmla="*/ 43380 w 385624"/>
                <a:gd name="connsiteY1" fmla="*/ 74260 h 74475"/>
                <a:gd name="connsiteX2" fmla="*/ 445 w 385624"/>
                <a:gd name="connsiteY2" fmla="*/ 31855 h 74475"/>
                <a:gd name="connsiteX3" fmla="*/ 445 w 385624"/>
                <a:gd name="connsiteY3" fmla="*/ 31590 h 74475"/>
                <a:gd name="connsiteX4" fmla="*/ 445 w 385624"/>
                <a:gd name="connsiteY4" fmla="*/ -214 h 74475"/>
                <a:gd name="connsiteX5" fmla="*/ 386069 w 385624"/>
                <a:gd name="connsiteY5" fmla="*/ -214 h 74475"/>
                <a:gd name="connsiteX6" fmla="*/ 386069 w 385624"/>
                <a:gd name="connsiteY6" fmla="*/ 31590 h 74475"/>
                <a:gd name="connsiteX7" fmla="*/ 343399 w 385624"/>
                <a:gd name="connsiteY7" fmla="*/ 74260 h 74475"/>
                <a:gd name="connsiteX8" fmla="*/ 343134 w 385624"/>
                <a:gd name="connsiteY8" fmla="*/ 74260 h 7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624" h="74475">
                  <a:moveTo>
                    <a:pt x="343134" y="74260"/>
                  </a:moveTo>
                  <a:lnTo>
                    <a:pt x="43380" y="74260"/>
                  </a:lnTo>
                  <a:cubicBezTo>
                    <a:pt x="19819" y="74419"/>
                    <a:pt x="604" y="55416"/>
                    <a:pt x="445" y="31855"/>
                  </a:cubicBezTo>
                  <a:cubicBezTo>
                    <a:pt x="445" y="31775"/>
                    <a:pt x="445" y="31669"/>
                    <a:pt x="445" y="31590"/>
                  </a:cubicBezTo>
                  <a:lnTo>
                    <a:pt x="445" y="-214"/>
                  </a:lnTo>
                  <a:lnTo>
                    <a:pt x="386069" y="-214"/>
                  </a:lnTo>
                  <a:lnTo>
                    <a:pt x="386069" y="31590"/>
                  </a:lnTo>
                  <a:cubicBezTo>
                    <a:pt x="386069" y="55152"/>
                    <a:pt x="366960" y="74260"/>
                    <a:pt x="343399" y="74260"/>
                  </a:cubicBezTo>
                  <a:cubicBezTo>
                    <a:pt x="343319" y="74260"/>
                    <a:pt x="343213" y="74260"/>
                    <a:pt x="343134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91" name="Graphic 8">
              <a:extLst>
                <a:ext uri="{FF2B5EF4-FFF2-40B4-BE49-F238E27FC236}">
                  <a16:creationId xmlns:a16="http://schemas.microsoft.com/office/drawing/2014/main" id="{C5750388-5D98-494D-90ED-EC3ABB1117EC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11101996" y="5769260"/>
              <a:ext cx="385624" cy="67705"/>
            </a:xfrm>
            <a:custGeom>
              <a:avLst/>
              <a:gdLst>
                <a:gd name="connsiteX0" fmla="*/ 343133 w 385624"/>
                <a:gd name="connsiteY0" fmla="*/ 74260 h 74475"/>
                <a:gd name="connsiteX1" fmla="*/ 43380 w 385624"/>
                <a:gd name="connsiteY1" fmla="*/ 74260 h 74475"/>
                <a:gd name="connsiteX2" fmla="*/ 445 w 385624"/>
                <a:gd name="connsiteY2" fmla="*/ 31855 h 74475"/>
                <a:gd name="connsiteX3" fmla="*/ 445 w 385624"/>
                <a:gd name="connsiteY3" fmla="*/ 31590 h 74475"/>
                <a:gd name="connsiteX4" fmla="*/ 445 w 385624"/>
                <a:gd name="connsiteY4" fmla="*/ -214 h 74475"/>
                <a:gd name="connsiteX5" fmla="*/ 386069 w 385624"/>
                <a:gd name="connsiteY5" fmla="*/ -214 h 74475"/>
                <a:gd name="connsiteX6" fmla="*/ 386069 w 385624"/>
                <a:gd name="connsiteY6" fmla="*/ 31590 h 74475"/>
                <a:gd name="connsiteX7" fmla="*/ 343399 w 385624"/>
                <a:gd name="connsiteY7" fmla="*/ 74260 h 74475"/>
                <a:gd name="connsiteX8" fmla="*/ 343133 w 385624"/>
                <a:gd name="connsiteY8" fmla="*/ 74260 h 7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624" h="74475">
                  <a:moveTo>
                    <a:pt x="343133" y="74260"/>
                  </a:moveTo>
                  <a:lnTo>
                    <a:pt x="43380" y="74260"/>
                  </a:lnTo>
                  <a:cubicBezTo>
                    <a:pt x="19819" y="74419"/>
                    <a:pt x="604" y="55416"/>
                    <a:pt x="445" y="31855"/>
                  </a:cubicBezTo>
                  <a:cubicBezTo>
                    <a:pt x="445" y="31775"/>
                    <a:pt x="445" y="31669"/>
                    <a:pt x="445" y="31590"/>
                  </a:cubicBezTo>
                  <a:lnTo>
                    <a:pt x="445" y="-214"/>
                  </a:lnTo>
                  <a:lnTo>
                    <a:pt x="386069" y="-214"/>
                  </a:lnTo>
                  <a:lnTo>
                    <a:pt x="386069" y="31590"/>
                  </a:lnTo>
                  <a:cubicBezTo>
                    <a:pt x="386069" y="55152"/>
                    <a:pt x="366960" y="74260"/>
                    <a:pt x="343399" y="74260"/>
                  </a:cubicBezTo>
                  <a:cubicBezTo>
                    <a:pt x="343319" y="74260"/>
                    <a:pt x="343213" y="74260"/>
                    <a:pt x="343133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92" name="Graphic 8">
              <a:extLst>
                <a:ext uri="{FF2B5EF4-FFF2-40B4-BE49-F238E27FC236}">
                  <a16:creationId xmlns:a16="http://schemas.microsoft.com/office/drawing/2014/main" id="{C825B732-0A00-44B2-83C8-4B12124089AE}"/>
                </a:ext>
              </a:extLst>
            </p:cNvPr>
            <p:cNvSpPr/>
            <p:nvPr/>
          </p:nvSpPr>
          <p:spPr bwMode="gray">
            <a:xfrm>
              <a:off x="9918885" y="5769260"/>
              <a:ext cx="385624" cy="67704"/>
            </a:xfrm>
            <a:custGeom>
              <a:avLst/>
              <a:gdLst>
                <a:gd name="connsiteX0" fmla="*/ 343399 w 385624"/>
                <a:gd name="connsiteY0" fmla="*/ 74260 h 74474"/>
                <a:gd name="connsiteX1" fmla="*/ 43381 w 385624"/>
                <a:gd name="connsiteY1" fmla="*/ 74260 h 74474"/>
                <a:gd name="connsiteX2" fmla="*/ 445 w 385624"/>
                <a:gd name="connsiteY2" fmla="*/ 31590 h 74474"/>
                <a:gd name="connsiteX3" fmla="*/ 445 w 385624"/>
                <a:gd name="connsiteY3" fmla="*/ -214 h 74474"/>
                <a:gd name="connsiteX4" fmla="*/ 386070 w 385624"/>
                <a:gd name="connsiteY4" fmla="*/ -214 h 74474"/>
                <a:gd name="connsiteX5" fmla="*/ 386070 w 385624"/>
                <a:gd name="connsiteY5" fmla="*/ 31590 h 74474"/>
                <a:gd name="connsiteX6" fmla="*/ 343399 w 385624"/>
                <a:gd name="connsiteY6" fmla="*/ 74260 h 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5624" h="74474">
                  <a:moveTo>
                    <a:pt x="343399" y="74260"/>
                  </a:moveTo>
                  <a:lnTo>
                    <a:pt x="43381" y="74260"/>
                  </a:lnTo>
                  <a:cubicBezTo>
                    <a:pt x="19766" y="74260"/>
                    <a:pt x="604" y="55204"/>
                    <a:pt x="445" y="31590"/>
                  </a:cubicBezTo>
                  <a:lnTo>
                    <a:pt x="445" y="-214"/>
                  </a:lnTo>
                  <a:lnTo>
                    <a:pt x="386070" y="-214"/>
                  </a:lnTo>
                  <a:lnTo>
                    <a:pt x="386070" y="31590"/>
                  </a:lnTo>
                  <a:cubicBezTo>
                    <a:pt x="386070" y="55152"/>
                    <a:pt x="366960" y="74260"/>
                    <a:pt x="343399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143" name="Rechteck 22">
            <a:extLst>
              <a:ext uri="{FF2B5EF4-FFF2-40B4-BE49-F238E27FC236}">
                <a16:creationId xmlns:a16="http://schemas.microsoft.com/office/drawing/2014/main" id="{CBFE8A66-761E-4E06-817D-7AF9DB96F34A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1" y="4797292"/>
            <a:ext cx="1703388" cy="1260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26000" bIns="72000" rtlCol="0" anchor="t"/>
          <a:lstStyle/>
          <a:p>
            <a:endParaRPr lang="en-US" sz="1400" b="1">
              <a:solidFill>
                <a:srgbClr val="009FE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6" name="Rechteck 22">
            <a:extLst>
              <a:ext uri="{FF2B5EF4-FFF2-40B4-BE49-F238E27FC236}">
                <a16:creationId xmlns:a16="http://schemas.microsoft.com/office/drawing/2014/main" id="{54AD9F60-B627-4700-A183-E0B33451AB7E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8904592" y="116074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algn="ctr"/>
            <a:endParaRPr lang="en-US" sz="2000" b="1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7" name="Text Placeholder 3">
            <a:extLst>
              <a:ext uri="{FF2B5EF4-FFF2-40B4-BE49-F238E27FC236}">
                <a16:creationId xmlns:a16="http://schemas.microsoft.com/office/drawing/2014/main" id="{8D0DE548-E9D2-4F6A-BE14-E240D13F2AE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32609" y="123275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504000" tIns="288000" rIns="144000" bIns="14400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170" name="Text Placeholder 3">
            <a:extLst>
              <a:ext uri="{FF2B5EF4-FFF2-40B4-BE49-F238E27FC236}">
                <a16:creationId xmlns:a16="http://schemas.microsoft.com/office/drawing/2014/main" id="{E7DA00C2-CB7D-4D2E-9439-3F6D7D89A8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324" y="4948924"/>
            <a:ext cx="1692064" cy="956736"/>
          </a:xfrm>
        </p:spPr>
        <p:txBody>
          <a:bodyPr lIns="0" tIns="0" rIns="144000" bIns="0" anchor="ctr" anchorCtr="0">
            <a:noAutofit/>
          </a:bodyPr>
          <a:lstStyle>
            <a:lvl1pPr algn="r">
              <a:buNone/>
              <a:defRPr sz="4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2" name="Text Placeholder 3">
            <a:extLst>
              <a:ext uri="{FF2B5EF4-FFF2-40B4-BE49-F238E27FC236}">
                <a16:creationId xmlns:a16="http://schemas.microsoft.com/office/drawing/2014/main" id="{76310A97-B96F-4013-8E01-4AC633F792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58144" y="130267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4" name="Rechteck 22">
            <a:extLst>
              <a:ext uri="{FF2B5EF4-FFF2-40B4-BE49-F238E27FC236}">
                <a16:creationId xmlns:a16="http://schemas.microsoft.com/office/drawing/2014/main" id="{FFA0F5B5-F586-4B10-A55A-AE332A18EB45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8904592" y="440110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algn="ctr"/>
            <a:endParaRPr lang="en-US" sz="2000" b="1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5" name="Text Placeholder 3">
            <a:extLst>
              <a:ext uri="{FF2B5EF4-FFF2-40B4-BE49-F238E27FC236}">
                <a16:creationId xmlns:a16="http://schemas.microsoft.com/office/drawing/2014/main" id="{EC7278C5-627E-4081-BE78-7DC81DD7D7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32609" y="447311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lIns="504000" tIns="288000" rIns="144000" bIns="144000" rtlCol="0">
            <a:normAutofit/>
          </a:bodyPr>
          <a:lstStyle>
            <a:lvl1pPr marL="0" indent="0">
              <a:buNone/>
              <a:defRPr lang="en-GB" sz="2000" b="1" dirty="0">
                <a:solidFill>
                  <a:schemeClr val="tx2"/>
                </a:solidFill>
              </a:defRPr>
            </a:lvl1pPr>
          </a:lstStyle>
          <a:p>
            <a:pPr marL="228594" lvl="0" indent="-228594">
              <a:lnSpc>
                <a:spcPct val="100000"/>
              </a:lnSpc>
              <a:spcBef>
                <a:spcPts val="0"/>
              </a:spcBef>
            </a:pPr>
            <a:r>
              <a:rPr lang="en-GB"/>
              <a:t>Description</a:t>
            </a:r>
          </a:p>
        </p:txBody>
      </p:sp>
      <p:sp>
        <p:nvSpPr>
          <p:cNvPr id="176" name="Text Placeholder 3">
            <a:extLst>
              <a:ext uri="{FF2B5EF4-FFF2-40B4-BE49-F238E27FC236}">
                <a16:creationId xmlns:a16="http://schemas.microsoft.com/office/drawing/2014/main" id="{ABF5F8D6-B992-449F-AAEC-B7D513D9B5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58144" y="454303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7" name="Rechteck 22">
            <a:extLst>
              <a:ext uri="{FF2B5EF4-FFF2-40B4-BE49-F238E27FC236}">
                <a16:creationId xmlns:a16="http://schemas.microsoft.com/office/drawing/2014/main" id="{3532B7CB-D4B0-4DB1-B04F-8E1E31CD9522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gray">
          <a:xfrm>
            <a:off x="8904592" y="278092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algn="ctr"/>
            <a:endParaRPr lang="en-US" sz="2000" b="1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8" name="Text Placeholder 3">
            <a:extLst>
              <a:ext uri="{FF2B5EF4-FFF2-40B4-BE49-F238E27FC236}">
                <a16:creationId xmlns:a16="http://schemas.microsoft.com/office/drawing/2014/main" id="{1175D43F-A21E-4E54-8D17-AD2BF60BB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32609" y="285293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lIns="504000" tIns="288000" rIns="144000" bIns="144000" rtlCol="0">
            <a:normAutofit/>
          </a:bodyPr>
          <a:lstStyle>
            <a:lvl1pPr marL="0" indent="0">
              <a:buNone/>
              <a:defRPr lang="en-GB" sz="2000" b="1" dirty="0">
                <a:solidFill>
                  <a:schemeClr val="tx2"/>
                </a:solidFill>
              </a:defRPr>
            </a:lvl1pPr>
          </a:lstStyle>
          <a:p>
            <a:pPr marL="228594" lvl="0" indent="-228594">
              <a:lnSpc>
                <a:spcPct val="100000"/>
              </a:lnSpc>
              <a:spcBef>
                <a:spcPts val="0"/>
              </a:spcBef>
            </a:pPr>
            <a:r>
              <a:rPr lang="en-GB"/>
              <a:t>Description</a:t>
            </a:r>
          </a:p>
        </p:txBody>
      </p:sp>
      <p:sp>
        <p:nvSpPr>
          <p:cNvPr id="179" name="Text Placeholder 3">
            <a:extLst>
              <a:ext uri="{FF2B5EF4-FFF2-40B4-BE49-F238E27FC236}">
                <a16:creationId xmlns:a16="http://schemas.microsoft.com/office/drawing/2014/main" id="{7A047DE7-3B3C-491D-9211-B8A383ABE4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58144" y="292285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0007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9FD2AF-0E30-4B52-9674-D475A9DE1D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856A205-2035-4412-AADC-29EB3E74D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D75F291-B186-437B-9BD4-204251E78F38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B8E0EFC-E370-4114-AEE8-D6B92840DD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67408" y="1196752"/>
            <a:ext cx="7920880" cy="360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1pPr>
            <a:lvl2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2pPr>
            <a:lvl3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3pPr>
            <a:lvl4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9pPr>
          </a:lstStyle>
          <a:p>
            <a:pPr lvl="0"/>
            <a:r>
              <a:rPr lang="en-GB" err="1"/>
              <a:t>Optionale</a:t>
            </a:r>
            <a:r>
              <a:rPr lang="en-GB"/>
              <a:t> Sub-Headline</a:t>
            </a:r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172FE0-F09B-46EA-905A-FA9C5FEC62F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986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197" userDrawn="1">
          <p15:clr>
            <a:srgbClr val="5ACBF0"/>
          </p15:clr>
        </p15:guide>
        <p15:guide id="2" orient="horz" pos="3838" userDrawn="1">
          <p15:clr>
            <a:srgbClr val="5ACBF0"/>
          </p15:clr>
        </p15:guide>
        <p15:guide id="3" pos="483" userDrawn="1">
          <p15:clr>
            <a:srgbClr val="5ACBF0"/>
          </p15:clr>
        </p15:guide>
        <p15:guide id="4" orient="horz" pos="1344" userDrawn="1">
          <p15:clr>
            <a:srgbClr val="5ACBF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2BE1EF-4549-4392-A069-4A855D1DC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416250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06" imgH="306" progId="TCLayout.ActiveDocument.1">
                  <p:embed/>
                </p:oleObj>
              </mc:Choice>
              <mc:Fallback>
                <p:oleObj name="think-cell Folie" r:id="rId8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2BE1EF-4549-4392-A069-4A855D1DC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2">
            <a:extLst>
              <a:ext uri="{FF2B5EF4-FFF2-40B4-BE49-F238E27FC236}">
                <a16:creationId xmlns:a16="http://schemas.microsoft.com/office/drawing/2014/main" id="{1062872F-2FD3-4D2F-B909-6BFA8945A6C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6996789" y="2132856"/>
            <a:ext cx="4499811" cy="3533728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algn="ctr"/>
            <a:endParaRPr lang="en-US" sz="1600" b="1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89CF4FC5-E935-47DF-A98E-266B22FC27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47577" y="2278784"/>
            <a:ext cx="4499811" cy="3526705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648000" tIns="288000" rIns="144000" bIns="14400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  <p:sp>
        <p:nvSpPr>
          <p:cNvPr id="21" name="Rechteck 22">
            <a:extLst>
              <a:ext uri="{FF2B5EF4-FFF2-40B4-BE49-F238E27FC236}">
                <a16:creationId xmlns:a16="http://schemas.microsoft.com/office/drawing/2014/main" id="{F9EAA1AA-785E-461E-951A-CA30714148D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1" y="1178358"/>
            <a:ext cx="6167439" cy="4518895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26000" bIns="72000" rtlCol="0" anchor="t"/>
          <a:lstStyle/>
          <a:p>
            <a:endParaRPr lang="en-US" sz="1400" b="1">
              <a:solidFill>
                <a:srgbClr val="009FE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Graphic 13">
            <a:extLst>
              <a:ext uri="{FF2B5EF4-FFF2-40B4-BE49-F238E27FC236}">
                <a16:creationId xmlns:a16="http://schemas.microsoft.com/office/drawing/2014/main" id="{6BB9F159-479F-418E-AAC8-225C1C6257F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-1" y="1382125"/>
            <a:ext cx="5900888" cy="4207115"/>
          </a:xfrm>
          <a:custGeom>
            <a:avLst/>
            <a:gdLst>
              <a:gd name="connsiteX0" fmla="*/ 2193825 w 2193893"/>
              <a:gd name="connsiteY0" fmla="*/ 44547 h 1432178"/>
              <a:gd name="connsiteX1" fmla="*/ 2193825 w 2193893"/>
              <a:gd name="connsiteY1" fmla="*/ 1386429 h 1432178"/>
              <a:gd name="connsiteX2" fmla="*/ 2148677 w 2193893"/>
              <a:gd name="connsiteY2" fmla="*/ 1431578 h 1432178"/>
              <a:gd name="connsiteX3" fmla="*/ 44985 w 2193893"/>
              <a:gd name="connsiteY3" fmla="*/ 1431578 h 1432178"/>
              <a:gd name="connsiteX4" fmla="*/ 29364 w 2193893"/>
              <a:gd name="connsiteY4" fmla="*/ 1428625 h 1432178"/>
              <a:gd name="connsiteX5" fmla="*/ -68 w 2193893"/>
              <a:gd name="connsiteY5" fmla="*/ 1386429 h 1432178"/>
              <a:gd name="connsiteX6" fmla="*/ -68 w 2193893"/>
              <a:gd name="connsiteY6" fmla="*/ 44547 h 1432178"/>
              <a:gd name="connsiteX7" fmla="*/ 44985 w 2193893"/>
              <a:gd name="connsiteY7" fmla="*/ -601 h 1432178"/>
              <a:gd name="connsiteX8" fmla="*/ 2148677 w 2193893"/>
              <a:gd name="connsiteY8" fmla="*/ -601 h 1432178"/>
              <a:gd name="connsiteX9" fmla="*/ 2165727 w 2193893"/>
              <a:gd name="connsiteY9" fmla="*/ 2733 h 1432178"/>
              <a:gd name="connsiteX10" fmla="*/ 2193825 w 2193893"/>
              <a:gd name="connsiteY10" fmla="*/ 44547 h 1432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93893" h="1432178">
                <a:moveTo>
                  <a:pt x="2193825" y="44547"/>
                </a:moveTo>
                <a:lnTo>
                  <a:pt x="2193825" y="1386429"/>
                </a:lnTo>
                <a:cubicBezTo>
                  <a:pt x="2193825" y="1411366"/>
                  <a:pt x="2173613" y="1431578"/>
                  <a:pt x="2148677" y="1431578"/>
                </a:cubicBezTo>
                <a:lnTo>
                  <a:pt x="44985" y="1431578"/>
                </a:lnTo>
                <a:cubicBezTo>
                  <a:pt x="39639" y="1431588"/>
                  <a:pt x="34340" y="1430578"/>
                  <a:pt x="29364" y="1428625"/>
                </a:cubicBezTo>
                <a:cubicBezTo>
                  <a:pt x="11644" y="1422167"/>
                  <a:pt x="-125" y="1405289"/>
                  <a:pt x="-68" y="1386429"/>
                </a:cubicBezTo>
                <a:lnTo>
                  <a:pt x="-68" y="44547"/>
                </a:lnTo>
                <a:cubicBezTo>
                  <a:pt x="-68" y="19649"/>
                  <a:pt x="20088" y="-554"/>
                  <a:pt x="44985" y="-601"/>
                </a:cubicBezTo>
                <a:lnTo>
                  <a:pt x="2148677" y="-601"/>
                </a:lnTo>
                <a:cubicBezTo>
                  <a:pt x="2154516" y="-582"/>
                  <a:pt x="2160307" y="552"/>
                  <a:pt x="2165727" y="2733"/>
                </a:cubicBezTo>
                <a:cubicBezTo>
                  <a:pt x="2182700" y="9686"/>
                  <a:pt x="2193806" y="26202"/>
                  <a:pt x="2193825" y="44547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23" name="Freeform: Shape 13">
            <a:extLst>
              <a:ext uri="{FF2B5EF4-FFF2-40B4-BE49-F238E27FC236}">
                <a16:creationId xmlns:a16="http://schemas.microsoft.com/office/drawing/2014/main" id="{ECD7AD49-C71B-401A-AB19-5C820276DF31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0" y="1296514"/>
            <a:ext cx="5983421" cy="4580759"/>
          </a:xfrm>
          <a:custGeom>
            <a:avLst/>
            <a:gdLst>
              <a:gd name="connsiteX0" fmla="*/ 0 w 4655840"/>
              <a:gd name="connsiteY0" fmla="*/ 0 h 3564396"/>
              <a:gd name="connsiteX1" fmla="*/ 4489417 w 4655840"/>
              <a:gd name="connsiteY1" fmla="*/ 0 h 3564396"/>
              <a:gd name="connsiteX2" fmla="*/ 4655840 w 4655840"/>
              <a:gd name="connsiteY2" fmla="*/ 166423 h 3564396"/>
              <a:gd name="connsiteX3" fmla="*/ 4655840 w 4655840"/>
              <a:gd name="connsiteY3" fmla="*/ 3326189 h 3564396"/>
              <a:gd name="connsiteX4" fmla="*/ 4489417 w 4655840"/>
              <a:gd name="connsiteY4" fmla="*/ 3492612 h 3564396"/>
              <a:gd name="connsiteX5" fmla="*/ 4151003 w 4655840"/>
              <a:gd name="connsiteY5" fmla="*/ 3492612 h 3564396"/>
              <a:gd name="connsiteX6" fmla="*/ 4151003 w 4655840"/>
              <a:gd name="connsiteY6" fmla="*/ 3517249 h 3564396"/>
              <a:gd name="connsiteX7" fmla="*/ 4103856 w 4655840"/>
              <a:gd name="connsiteY7" fmla="*/ 3564396 h 3564396"/>
              <a:gd name="connsiteX8" fmla="*/ 3874895 w 4655840"/>
              <a:gd name="connsiteY8" fmla="*/ 3564396 h 3564396"/>
              <a:gd name="connsiteX9" fmla="*/ 3827748 w 4655840"/>
              <a:gd name="connsiteY9" fmla="*/ 3517249 h 3564396"/>
              <a:gd name="connsiteX10" fmla="*/ 3827748 w 4655840"/>
              <a:gd name="connsiteY10" fmla="*/ 3492612 h 3564396"/>
              <a:gd name="connsiteX11" fmla="*/ 3682951 w 4655840"/>
              <a:gd name="connsiteY11" fmla="*/ 3492612 h 3564396"/>
              <a:gd name="connsiteX12" fmla="*/ 3682951 w 4655840"/>
              <a:gd name="connsiteY12" fmla="*/ 3517249 h 3564396"/>
              <a:gd name="connsiteX13" fmla="*/ 3635804 w 4655840"/>
              <a:gd name="connsiteY13" fmla="*/ 3564396 h 3564396"/>
              <a:gd name="connsiteX14" fmla="*/ 3406843 w 4655840"/>
              <a:gd name="connsiteY14" fmla="*/ 3564396 h 3564396"/>
              <a:gd name="connsiteX15" fmla="*/ 3359696 w 4655840"/>
              <a:gd name="connsiteY15" fmla="*/ 3517249 h 3564396"/>
              <a:gd name="connsiteX16" fmla="*/ 3359696 w 4655840"/>
              <a:gd name="connsiteY16" fmla="*/ 3492612 h 3564396"/>
              <a:gd name="connsiteX17" fmla="*/ 3179676 w 4655840"/>
              <a:gd name="connsiteY17" fmla="*/ 3492612 h 3564396"/>
              <a:gd name="connsiteX18" fmla="*/ 3179676 w 4655840"/>
              <a:gd name="connsiteY18" fmla="*/ 3517249 h 3564396"/>
              <a:gd name="connsiteX19" fmla="*/ 3132529 w 4655840"/>
              <a:gd name="connsiteY19" fmla="*/ 3564396 h 3564396"/>
              <a:gd name="connsiteX20" fmla="*/ 2903568 w 4655840"/>
              <a:gd name="connsiteY20" fmla="*/ 3564396 h 3564396"/>
              <a:gd name="connsiteX21" fmla="*/ 2856421 w 4655840"/>
              <a:gd name="connsiteY21" fmla="*/ 3517249 h 3564396"/>
              <a:gd name="connsiteX22" fmla="*/ 2856421 w 4655840"/>
              <a:gd name="connsiteY22" fmla="*/ 3492612 h 3564396"/>
              <a:gd name="connsiteX23" fmla="*/ 0 w 4655840"/>
              <a:gd name="connsiteY23" fmla="*/ 3492612 h 3564396"/>
              <a:gd name="connsiteX24" fmla="*/ 0 w 4655840"/>
              <a:gd name="connsiteY24" fmla="*/ 3204356 h 3564396"/>
              <a:gd name="connsiteX25" fmla="*/ 4511825 w 4655840"/>
              <a:gd name="connsiteY25" fmla="*/ 3204356 h 3564396"/>
              <a:gd name="connsiteX26" fmla="*/ 4511825 w 4655840"/>
              <a:gd name="connsiteY26" fmla="*/ 144016 h 3564396"/>
              <a:gd name="connsiteX27" fmla="*/ 0 w 4655840"/>
              <a:gd name="connsiteY27" fmla="*/ 144016 h 3564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655840" h="3564396">
                <a:moveTo>
                  <a:pt x="0" y="0"/>
                </a:moveTo>
                <a:lnTo>
                  <a:pt x="4489417" y="0"/>
                </a:lnTo>
                <a:cubicBezTo>
                  <a:pt x="4581330" y="0"/>
                  <a:pt x="4655840" y="74510"/>
                  <a:pt x="4655840" y="166423"/>
                </a:cubicBezTo>
                <a:lnTo>
                  <a:pt x="4655840" y="3326189"/>
                </a:lnTo>
                <a:cubicBezTo>
                  <a:pt x="4655840" y="3418102"/>
                  <a:pt x="4581330" y="3492612"/>
                  <a:pt x="4489417" y="3492612"/>
                </a:cubicBezTo>
                <a:lnTo>
                  <a:pt x="4151003" y="3492612"/>
                </a:lnTo>
                <a:lnTo>
                  <a:pt x="4151003" y="3517249"/>
                </a:lnTo>
                <a:cubicBezTo>
                  <a:pt x="4151003" y="3543288"/>
                  <a:pt x="4129895" y="3564396"/>
                  <a:pt x="4103856" y="3564396"/>
                </a:cubicBezTo>
                <a:lnTo>
                  <a:pt x="3874895" y="3564396"/>
                </a:lnTo>
                <a:cubicBezTo>
                  <a:pt x="3848856" y="3564396"/>
                  <a:pt x="3827748" y="3543288"/>
                  <a:pt x="3827748" y="3517249"/>
                </a:cubicBezTo>
                <a:lnTo>
                  <a:pt x="3827748" y="3492612"/>
                </a:lnTo>
                <a:lnTo>
                  <a:pt x="3682951" y="3492612"/>
                </a:lnTo>
                <a:lnTo>
                  <a:pt x="3682951" y="3517249"/>
                </a:lnTo>
                <a:cubicBezTo>
                  <a:pt x="3682951" y="3543288"/>
                  <a:pt x="3661843" y="3564396"/>
                  <a:pt x="3635804" y="3564396"/>
                </a:cubicBezTo>
                <a:lnTo>
                  <a:pt x="3406843" y="3564396"/>
                </a:lnTo>
                <a:cubicBezTo>
                  <a:pt x="3380804" y="3564396"/>
                  <a:pt x="3359696" y="3543288"/>
                  <a:pt x="3359696" y="3517249"/>
                </a:cubicBezTo>
                <a:lnTo>
                  <a:pt x="3359696" y="3492612"/>
                </a:lnTo>
                <a:lnTo>
                  <a:pt x="3179676" y="3492612"/>
                </a:lnTo>
                <a:lnTo>
                  <a:pt x="3179676" y="3517249"/>
                </a:lnTo>
                <a:cubicBezTo>
                  <a:pt x="3179676" y="3543288"/>
                  <a:pt x="3158568" y="3564396"/>
                  <a:pt x="3132529" y="3564396"/>
                </a:cubicBezTo>
                <a:lnTo>
                  <a:pt x="2903568" y="3564396"/>
                </a:lnTo>
                <a:cubicBezTo>
                  <a:pt x="2877529" y="3564396"/>
                  <a:pt x="2856421" y="3543288"/>
                  <a:pt x="2856421" y="3517249"/>
                </a:cubicBezTo>
                <a:lnTo>
                  <a:pt x="2856421" y="3492612"/>
                </a:lnTo>
                <a:lnTo>
                  <a:pt x="0" y="3492612"/>
                </a:lnTo>
                <a:lnTo>
                  <a:pt x="0" y="3204356"/>
                </a:lnTo>
                <a:lnTo>
                  <a:pt x="4511825" y="3204356"/>
                </a:lnTo>
                <a:lnTo>
                  <a:pt x="4511825" y="144016"/>
                </a:lnTo>
                <a:lnTo>
                  <a:pt x="0" y="144016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CA6A8F0-846F-4167-B7E5-22F03BA52704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6381991" y="2387324"/>
            <a:ext cx="936000" cy="936000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pl-PL" sz="133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vs</a:t>
            </a:r>
            <a:endParaRPr lang="en-US" sz="133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BAD32E1-C945-46E8-9018-CA00D2F1789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4136" y="2387324"/>
            <a:ext cx="936000" cy="936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2"/>
            </a:solidFill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77523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öp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2FC641E1-B8E3-413B-904A-2440DD1ED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810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2E1FDC18-783E-41B0-A0D2-168EE16F3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9B581941-4DFC-434A-86AA-4C1552688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24642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DB581137-3902-47A4-B44D-30D80149B4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26214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A208E58-4EC9-4B06-A80F-E2943394BD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27786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19039486-E685-4E1E-90DD-040C8A5525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0601" y="4942047"/>
            <a:ext cx="3036047" cy="956736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AE1C2790-44C2-4FE8-ABB1-D94E61B6F7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7978" y="4943791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56DAC46A-A81D-4BF6-853B-46D6CBA80C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469" y="4942047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9A11213-6B94-4070-B425-F3D4934CE78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42855" y="2647952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45B65062-1C74-4975-AB11-DD0AD47E1D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423504" y="2647952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4" name="Bildplatzhalter 6">
            <a:extLst>
              <a:ext uri="{FF2B5EF4-FFF2-40B4-BE49-F238E27FC236}">
                <a16:creationId xmlns:a16="http://schemas.microsoft.com/office/drawing/2014/main" id="{B8892F41-2115-496D-8249-7B6E9DA4EB7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45996" y="2647952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403266896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3A081B37-E57B-48A2-AC9E-4C379D3B89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692" y="2494279"/>
            <a:ext cx="1044000" cy="1044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297B832-0F11-4184-8F58-81CF859E33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42643" y="1363879"/>
            <a:ext cx="1044000" cy="1044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58F55ED-DB6A-479A-B682-3AB85F09F6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74063" y="2494279"/>
            <a:ext cx="1044000" cy="1044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38F46AA-D2E1-4A9E-A65E-BF6590DA664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97867" y="1363879"/>
            <a:ext cx="1044000" cy="1044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EFAFAC9-23DC-43C2-9ADB-F76F4CE706E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23275" y="4940401"/>
            <a:ext cx="1044000" cy="1044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F36B00A-61CE-4138-B78D-643C3EE90EA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39297" y="3809901"/>
            <a:ext cx="1044000" cy="1044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6F6A55E-7A12-4A71-BB5D-BF0E01662F43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745033" y="4940401"/>
            <a:ext cx="1044000" cy="1044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CFACE34-BF9F-4E6D-9561-D540D2CF7D3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741439" y="3809901"/>
            <a:ext cx="1044000" cy="1044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413FF27-BA52-4273-A50A-F4100BB7D01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8285" y="2494279"/>
            <a:ext cx="1044000" cy="1044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3E35579-64AF-4682-AC8C-8FE30B29E3C7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09600" y="1363879"/>
            <a:ext cx="1044000" cy="1044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BAF70398-B919-4639-9C97-1ED35EDC7B8F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4896520" y="2494279"/>
            <a:ext cx="1044000" cy="1044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B424053-AFD7-4E94-BDBE-483630C81136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896520" y="1363879"/>
            <a:ext cx="1044000" cy="1044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03F1A61-6359-4273-B302-E846FF9B6314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107331" y="2494279"/>
            <a:ext cx="1044000" cy="1044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244A3B7D-14F6-4273-9FA2-ABD4F1E05843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8081504" y="1363879"/>
            <a:ext cx="1044000" cy="1044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22A49A86-9DE1-432A-9A12-E5E664D46A62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712464" y="2494279"/>
            <a:ext cx="1044000" cy="1044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B3ED136C-AFF3-4DE4-B377-1E83FC24B590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741439" y="1363879"/>
            <a:ext cx="1044000" cy="1044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5C6AD4FD-9D36-4DF8-A9BC-E107A62A8260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886881" y="4940401"/>
            <a:ext cx="1044000" cy="1044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9573D5A-5CE8-4ABA-8B10-DFC508FC9C30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811067" y="3809901"/>
            <a:ext cx="1044000" cy="1044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22D77ED-D0EC-480B-8F58-275A5C25D6DB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828451" y="2494279"/>
            <a:ext cx="1044000" cy="10440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6489A5EA-9CCC-4A15-A410-B2026DF0F238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3823547" y="1363879"/>
            <a:ext cx="1044000" cy="10440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DAA6DEA-6635-4248-AF8E-D44D50D7F16B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930881" y="4940401"/>
            <a:ext cx="1044000" cy="1044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AD1B1F4-9400-4057-84EE-557904E5B1A1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4879275" y="3809901"/>
            <a:ext cx="1044000" cy="10440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52C8BE19-2849-4FD4-A169-E1063DB50417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671811" y="3809901"/>
            <a:ext cx="1044000" cy="104400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4AA2F212-9470-496A-87E2-55B8A58EF4FA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678516" y="4940401"/>
            <a:ext cx="1044000" cy="104400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52F79728-FF7D-4B50-9478-536B0CB38F10}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609600" y="3809901"/>
            <a:ext cx="1044000" cy="10440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86CC9833-B63D-4885-89AF-0999C90FF18E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609600" y="4940401"/>
            <a:ext cx="1044000" cy="104400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35E9ECD9-E10E-4CBA-BF52-4670D794D592}"/>
              </a:ext>
            </a:extLst>
          </p:cNvPr>
          <p:cNvPicPr>
            <a:picLocks noChangeAspect="1"/>
          </p:cNvPicPr>
          <p:nvPr userDrawn="1"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8120863" y="3809901"/>
            <a:ext cx="1044000" cy="1044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AE32466E-9C49-47B3-AFAC-9704D0A86BEA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8174448" y="4940401"/>
            <a:ext cx="1044000" cy="1044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D1F1DB1D-D9AE-4D6B-8727-B6E25271C409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9230063" y="4940301"/>
            <a:ext cx="1044000" cy="1044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6FA8DC32-CC3B-41D8-BD42-0BD97DA6806F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9207329" y="3809901"/>
            <a:ext cx="1044000" cy="1044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9E30971E-6883-445B-883D-0CA8B2DA11F8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7024584" y="4940401"/>
            <a:ext cx="1044000" cy="10440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D621922B-D161-4786-8E9A-219FB2CC39E6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7030880" y="3809901"/>
            <a:ext cx="1044000" cy="10440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E0DDB2FD-F90D-41D7-B681-54C600089E09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668464" y="2494279"/>
            <a:ext cx="1044000" cy="10440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844CBE15-A36E-4639-872B-E2DD409D85E5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674513" y="1363879"/>
            <a:ext cx="1044000" cy="10440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12808483-DB95-4D93-A059-578112FE1EA6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7024584" y="1363879"/>
            <a:ext cx="1044000" cy="1044000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4F20F2D2-CEF1-4AF3-91EF-17308C8D6DE9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7002491" y="2494279"/>
            <a:ext cx="1044000" cy="1044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79B1C5B4-72F4-4F4C-89A5-843A94CB6958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5963445" y="1363879"/>
            <a:ext cx="1044000" cy="104400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F6C36229-30EB-405E-8BC0-F70774E67A6A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5923275" y="2494279"/>
            <a:ext cx="1044000" cy="10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30320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DDB5DE4-1CA5-4911-9DA2-6645FC8D5C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39489" b="4890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30836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1" descr="Text, logo&#10;&#10;Description automatically generated">
            <a:extLst>
              <a:ext uri="{FF2B5EF4-FFF2-40B4-BE49-F238E27FC236}">
                <a16:creationId xmlns:a16="http://schemas.microsoft.com/office/drawing/2014/main" id="{706B7480-887E-414E-8E88-B9BF8181A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42261" y="368300"/>
            <a:ext cx="2072148" cy="62027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68996EA7-2F7B-4FF8-8160-8D47C4AE4E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4748"/>
          <a:stretch/>
        </p:blipFill>
        <p:spPr>
          <a:xfrm>
            <a:off x="10290044" y="4744576"/>
            <a:ext cx="1901956" cy="2113424"/>
          </a:xfrm>
          <a:prstGeom prst="rect">
            <a:avLst/>
          </a:prstGeom>
        </p:spPr>
      </p:pic>
      <p:sp>
        <p:nvSpPr>
          <p:cNvPr id="9" name="Titel 4">
            <a:extLst>
              <a:ext uri="{FF2B5EF4-FFF2-40B4-BE49-F238E27FC236}">
                <a16:creationId xmlns:a16="http://schemas.microsoft.com/office/drawing/2014/main" id="{0C249786-1F07-48C9-94E1-FEC7CE0AC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042" y="184207"/>
            <a:ext cx="5686816" cy="1055433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de-DE">
                <a:solidFill>
                  <a:schemeClr val="tx2"/>
                </a:solidFill>
              </a:rPr>
              <a:t>IDSA Winterdays</a:t>
            </a:r>
            <a:br>
              <a:rPr lang="de-DE" sz="3000">
                <a:solidFill>
                  <a:schemeClr val="tx2"/>
                </a:solidFill>
              </a:rPr>
            </a:br>
            <a:r>
              <a:rPr lang="de-DE" sz="2200" b="1" i="1">
                <a:solidFill>
                  <a:schemeClr val="tx2"/>
                </a:solidFill>
                <a:latin typeface="Georgia" panose="02040502050405020303" pitchFamily="18" charset="0"/>
              </a:rPr>
              <a:t>February 16 &amp; 17, 2022</a:t>
            </a:r>
            <a:endParaRPr lang="de-DE" sz="2200">
              <a:solidFill>
                <a:schemeClr val="tx2"/>
              </a:solidFill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77C3F78D-FC55-4507-A14A-1D1AD4E95ED5}"/>
              </a:ext>
            </a:extLst>
          </p:cNvPr>
          <p:cNvGrpSpPr/>
          <p:nvPr userDrawn="1"/>
        </p:nvGrpSpPr>
        <p:grpSpPr>
          <a:xfrm>
            <a:off x="750920" y="1989519"/>
            <a:ext cx="8624699" cy="3816000"/>
            <a:chOff x="750920" y="1989519"/>
            <a:chExt cx="8624699" cy="3816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8E292FE2-1881-44A0-89B5-555133263305}"/>
                </a:ext>
              </a:extLst>
            </p:cNvPr>
            <p:cNvSpPr/>
            <p:nvPr/>
          </p:nvSpPr>
          <p:spPr>
            <a:xfrm>
              <a:off x="750920" y="1989519"/>
              <a:ext cx="1908000" cy="1908000"/>
            </a:xfrm>
            <a:prstGeom prst="rect">
              <a:avLst/>
            </a:prstGeom>
            <a:pattFill prst="wdUpDiag">
              <a:fgClr>
                <a:schemeClr val="tx2"/>
              </a:fgClr>
              <a:bgClr>
                <a:schemeClr val="accent5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lussdiagramm: Verbinder 12">
              <a:extLst>
                <a:ext uri="{FF2B5EF4-FFF2-40B4-BE49-F238E27FC236}">
                  <a16:creationId xmlns:a16="http://schemas.microsoft.com/office/drawing/2014/main" id="{726078FB-805E-40BF-9A73-26FCF97C99CC}"/>
                </a:ext>
              </a:extLst>
            </p:cNvPr>
            <p:cNvSpPr/>
            <p:nvPr/>
          </p:nvSpPr>
          <p:spPr>
            <a:xfrm>
              <a:off x="753760" y="1989519"/>
              <a:ext cx="3816000" cy="3816000"/>
            </a:xfrm>
            <a:prstGeom prst="flowChartConnector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Flussdiagramm: Verbinder 13">
              <a:extLst>
                <a:ext uri="{FF2B5EF4-FFF2-40B4-BE49-F238E27FC236}">
                  <a16:creationId xmlns:a16="http://schemas.microsoft.com/office/drawing/2014/main" id="{ECFEA96F-05CA-43E0-93C8-FD455C7B39E0}"/>
                </a:ext>
              </a:extLst>
            </p:cNvPr>
            <p:cNvSpPr/>
            <p:nvPr/>
          </p:nvSpPr>
          <p:spPr>
            <a:xfrm>
              <a:off x="5559619" y="1989519"/>
              <a:ext cx="3816000" cy="3816000"/>
            </a:xfrm>
            <a:prstGeom prst="flowChartConnector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7E7613A-BC66-4F62-B2A0-8C32DED39718}"/>
                </a:ext>
              </a:extLst>
            </p:cNvPr>
            <p:cNvSpPr/>
            <p:nvPr/>
          </p:nvSpPr>
          <p:spPr>
            <a:xfrm>
              <a:off x="2548129" y="1989519"/>
              <a:ext cx="4864116" cy="3816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98487091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 Only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59B39E5-F20A-4E22-9618-198C74B7164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675341"/>
            <a:ext cx="7839635" cy="759854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Main Tit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583F9B3-0E03-4F3B-A7BC-D685E81FA3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1529135"/>
            <a:ext cx="5523753" cy="438056"/>
          </a:xfrm>
        </p:spPr>
        <p:txBody>
          <a:bodyPr>
            <a:normAutofit/>
          </a:bodyPr>
          <a:lstStyle>
            <a:lvl1pPr marL="0" indent="0" algn="l">
              <a:buNone/>
              <a:defRPr sz="2600" b="1" i="1">
                <a:solidFill>
                  <a:schemeClr val="bg2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 Title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7BE84BD-E400-4F64-9AF2-8751768BA47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575860"/>
            <a:ext cx="5247342" cy="3293036"/>
          </a:xfrm>
        </p:spPr>
        <p:txBody>
          <a:bodyPr>
            <a:normAutofit/>
          </a:bodyPr>
          <a:lstStyle>
            <a:lvl1pPr>
              <a:buFont typeface="Wingdings" panose="05000000000000000000" pitchFamily="2" charset="2"/>
              <a:buChar char="§"/>
              <a:defRPr sz="1800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Bullet Point</a:t>
            </a:r>
          </a:p>
          <a:p>
            <a:pPr lvl="0"/>
            <a:endParaRPr lang="en-GB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2A830BF-A23F-462E-BCF0-18F0971747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5060" y="2575860"/>
            <a:ext cx="5247340" cy="3293036"/>
          </a:xfrm>
        </p:spPr>
        <p:txBody>
          <a:bodyPr>
            <a:normAutofit/>
          </a:bodyPr>
          <a:lstStyle>
            <a:lvl1pPr>
              <a:buFont typeface="Wingdings" panose="05000000000000000000" pitchFamily="2" charset="2"/>
              <a:buChar char="§"/>
              <a:defRPr sz="1800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Bullet Point</a:t>
            </a:r>
          </a:p>
          <a:p>
            <a:pPr lvl="0"/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8B1FEB1-73B9-4A9D-8568-66F7C5095FC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6C681A-6B5F-45E6-A53C-9320A9EB4E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97F23BE-9639-4D42-A99F-58A68E1EB7AC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9CD446BF-9200-4698-8E70-EEFFAB5368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6024" y="365124"/>
            <a:ext cx="1940852" cy="574857"/>
          </a:xfrm>
          <a:prstGeom prst="rect">
            <a:avLst/>
          </a:prstGeom>
        </p:spPr>
      </p:pic>
      <p:pic>
        <p:nvPicPr>
          <p:cNvPr id="11" name="Picture 10" descr="Text, logo&#10;&#10;Description automatically generated">
            <a:extLst>
              <a:ext uri="{FF2B5EF4-FFF2-40B4-BE49-F238E27FC236}">
                <a16:creationId xmlns:a16="http://schemas.microsoft.com/office/drawing/2014/main" id="{16C1BD49-07A3-41B3-A0BD-78282B566AC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2640" y="332226"/>
            <a:ext cx="2072148" cy="620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815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8">
          <p15:clr>
            <a:srgbClr val="FBAE40"/>
          </p15:clr>
        </p15:guide>
        <p15:guide id="2" pos="384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5" y="2165350"/>
            <a:ext cx="10512407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277939119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5" y="2165350"/>
            <a:ext cx="5148245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7AE868-13D3-4D28-A8E4-F635F770F6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7438" y="2168525"/>
            <a:ext cx="5184775" cy="36004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29970003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E80C4A-E133-4D33-A918-188A03B20D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8AF9B4-D53B-48CC-B719-350DF8315F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6296305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37605235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9FD2AF-0E30-4B52-9674-D475A9DE1D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856A205-2035-4412-AADC-29EB3E74D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D75F291-B186-437B-9BD4-204251E78F38}" type="slidenum">
              <a:rPr lang="en-GB" smtClean="0"/>
              <a:t>‹#›</a:t>
            </a:fld>
            <a:endParaRPr lang="en-GB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1E9ECAE5-3083-41C9-B45F-ED045951946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766763" y="2133600"/>
            <a:ext cx="10658476" cy="3959225"/>
          </a:xfrm>
          <a:solidFill>
            <a:schemeClr val="bg2"/>
          </a:solidFill>
        </p:spPr>
        <p:txBody>
          <a:bodyPr bIns="828000" anchor="ctr">
            <a:normAutofit/>
          </a:bodyPr>
          <a:lstStyle>
            <a:lvl1pPr algn="ctr">
              <a:defRPr sz="1200"/>
            </a:lvl1pPr>
          </a:lstStyle>
          <a:p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00D25B8-CD92-457D-9ECC-CD6604C276E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B8E0EFC-E370-4114-AEE8-D6B92840DD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67408" y="1196752"/>
            <a:ext cx="7920880" cy="360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1pPr>
            <a:lvl2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2pPr>
            <a:lvl3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3pPr>
            <a:lvl4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9pPr>
          </a:lstStyle>
          <a:p>
            <a:pPr lvl="0"/>
            <a:r>
              <a:rPr lang="en-GB" err="1"/>
              <a:t>Optionale</a:t>
            </a:r>
            <a:r>
              <a:rPr lang="en-GB"/>
              <a:t> Sub-Headline</a:t>
            </a:r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5080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197" userDrawn="1">
          <p15:clr>
            <a:srgbClr val="5ACBF0"/>
          </p15:clr>
        </p15:guide>
        <p15:guide id="2" orient="horz" pos="3838" userDrawn="1">
          <p15:clr>
            <a:srgbClr val="5ACBF0"/>
          </p15:clr>
        </p15:guide>
        <p15:guide id="3" pos="483" userDrawn="1">
          <p15:clr>
            <a:srgbClr val="5ACBF0"/>
          </p15:clr>
        </p15:guide>
        <p15:guide id="4" orient="horz" pos="1344" userDrawn="1">
          <p15:clr>
            <a:srgbClr val="5ACBF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_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2AF408C-385C-47C4-8A73-BC788A254FD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Imag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F31B573-F80B-4BA5-989B-5ACE6677BE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4753405"/>
            <a:ext cx="6840000" cy="792000"/>
          </a:xfrm>
          <a:solidFill>
            <a:schemeClr val="tx1"/>
          </a:solidFill>
        </p:spPr>
        <p:txBody>
          <a:bodyPr lIns="180000" rIns="180000" anchor="ctr" anchorCtr="0">
            <a:spAutoFit/>
          </a:bodyPr>
          <a:lstStyle>
            <a:lvl1pPr algn="l">
              <a:defRPr sz="4800" b="1"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B34900D-F899-4614-BBFD-4B027A6EE3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5565876"/>
            <a:ext cx="4500000" cy="504000"/>
          </a:xfrm>
          <a:solidFill>
            <a:schemeClr val="tx1"/>
          </a:solidFill>
        </p:spPr>
        <p:txBody>
          <a:bodyPr lIns="180000" rIns="180000" anchor="ctr" anchorCtr="0">
            <a:spAutoFit/>
          </a:bodyPr>
          <a:lstStyle>
            <a:lvl1pPr marL="0" indent="0" algn="l">
              <a:buNone/>
              <a:defRPr sz="260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 Title</a:t>
            </a:r>
            <a:endParaRPr lang="en-GB"/>
          </a:p>
        </p:txBody>
      </p:sp>
      <p:pic>
        <p:nvPicPr>
          <p:cNvPr id="8" name="Picture 6" descr="Text&#10;&#10;Description automatically generated">
            <a:extLst>
              <a:ext uri="{FF2B5EF4-FFF2-40B4-BE49-F238E27FC236}">
                <a16:creationId xmlns:a16="http://schemas.microsoft.com/office/drawing/2014/main" id="{7D949F2A-0C2C-4933-9C7F-DD81FD4F8C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6024" y="365125"/>
            <a:ext cx="1940858" cy="574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32271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eingerüc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2540" y="123384"/>
            <a:ext cx="2176969" cy="791016"/>
          </a:xfrm>
          <a:prstGeom prst="rect">
            <a:avLst/>
          </a:prstGeom>
        </p:spPr>
      </p:pic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10351213" y="6318420"/>
            <a:ext cx="1409417" cy="226313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0957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/</a:t>
            </a:r>
            <a:r>
              <a:rPr kumimoji="0" lang="de-DE" sz="1067" b="0" i="0" u="none" strike="noStrike" kern="1200" cap="none" spc="0" normalizeH="0" baseline="0" noProof="0">
                <a:ln>
                  <a:noFill/>
                </a:ln>
                <a:solidFill>
                  <a:srgbClr val="0092D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fld id="{8E821C83-84D4-BF47-9BEB-DE7BBACF0AD8}" type="slidenum">
              <a:rPr kumimoji="0" lang="de-DE" sz="1067" b="0" i="0" u="none" strike="noStrike" kern="1200" cap="none" spc="0" normalizeH="0" baseline="0" noProof="0" smtClean="0">
                <a:ln>
                  <a:noFill/>
                </a:ln>
                <a:solidFill>
                  <a:srgbClr val="0092D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09570" rtl="0" eaLnBrk="1" fontAlgn="auto" latinLnBrk="0" hangingPunct="1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67" b="0" i="0" u="none" strike="noStrike" kern="1200" cap="none" spc="0" normalizeH="0" baseline="0" noProof="0">
              <a:ln>
                <a:noFill/>
              </a:ln>
              <a:solidFill>
                <a:srgbClr val="0092D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210128" y="6280135"/>
            <a:ext cx="3064933" cy="44873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00"/>
            </a:lvl1pPr>
          </a:lstStyle>
          <a:p>
            <a:pPr lvl="0"/>
            <a:r>
              <a:rPr lang="de-DE"/>
              <a:t>Titel der PPP</a:t>
            </a:r>
          </a:p>
          <a:p>
            <a:pPr lvl="0"/>
            <a:r>
              <a:rPr lang="de-DE"/>
              <a:t>Kapiteltitel</a:t>
            </a:r>
          </a:p>
        </p:txBody>
      </p:sp>
      <p:sp>
        <p:nvSpPr>
          <p:cNvPr id="11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7982045" y="6273784"/>
            <a:ext cx="2508249" cy="44873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00"/>
            </a:lvl1pPr>
            <a:lvl2pPr marL="609570" indent="0">
              <a:buNone/>
              <a:defRPr sz="1000"/>
            </a:lvl2pPr>
            <a:lvl3pPr marL="1219140" indent="0">
              <a:buNone/>
              <a:defRPr sz="1000"/>
            </a:lvl3pPr>
            <a:lvl4pPr marL="1828709" indent="0">
              <a:buNone/>
              <a:defRPr sz="1000"/>
            </a:lvl4pPr>
            <a:lvl5pPr marL="2438278" indent="0">
              <a:buNone/>
              <a:defRPr sz="1000"/>
            </a:lvl5pPr>
          </a:lstStyle>
          <a:p>
            <a:pPr lvl="0"/>
            <a:r>
              <a:rPr lang="de-DE"/>
              <a:t>Name der Unterfolie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7" hasCustomPrompt="1"/>
          </p:nvPr>
        </p:nvSpPr>
        <p:spPr>
          <a:xfrm>
            <a:off x="4171797" y="2286000"/>
            <a:ext cx="7416800" cy="335446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6095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33" baseline="0">
                <a:solidFill>
                  <a:schemeClr val="tx1"/>
                </a:solidFill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30" name="Gerade Verbindung 29"/>
          <p:cNvCxnSpPr/>
          <p:nvPr userDrawn="1"/>
        </p:nvCxnSpPr>
        <p:spPr>
          <a:xfrm>
            <a:off x="533400" y="6206051"/>
            <a:ext cx="11116733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4239760" y="6227219"/>
            <a:ext cx="0" cy="234949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>
          <a:xfrm>
            <a:off x="8020051" y="6227219"/>
            <a:ext cx="0" cy="234949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12275" y="694267"/>
            <a:ext cx="9349792" cy="795868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24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err="1"/>
              <a:t>ThemenHeadline</a:t>
            </a:r>
            <a:endParaRPr lang="de-DE"/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06401" y="1490136"/>
            <a:ext cx="9355667" cy="79586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24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err="1"/>
              <a:t>Subthema</a:t>
            </a:r>
            <a:endParaRPr lang="de-DE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406385" y="6280470"/>
            <a:ext cx="2402291" cy="389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33" b="0" i="0" u="none" strike="noStrike" kern="1200" cap="none" spc="0" normalizeH="0" baseline="0" noProof="0">
                <a:ln>
                  <a:noFill/>
                </a:ln>
                <a:solidFill>
                  <a:srgbClr val="0092D2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www.internationaldataspaces.org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92D2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92967241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6" y="2165352"/>
            <a:ext cx="10512407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144008331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394" y="1273923"/>
            <a:ext cx="10512407" cy="4888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273260931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6" y="2165352"/>
            <a:ext cx="5148245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7AE868-13D3-4D28-A8E4-F635F770F6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7439" y="2168525"/>
            <a:ext cx="5184775" cy="36004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261076003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4" y="2165352"/>
            <a:ext cx="6480000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BADABE6-3453-400C-A405-40E92F11ED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16195" y="2165350"/>
            <a:ext cx="3636000" cy="3603625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384190844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E80C4A-E133-4D33-A918-188A03B20D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8AF9B4-D53B-48CC-B719-350DF8315F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23555655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+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DF379BB-6F1E-48A1-82A2-A4C682BB95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89" y="1624013"/>
            <a:ext cx="10514012" cy="41449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130068504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245760318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2BE1EF-4549-4392-A069-4A855D1DC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29574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06" imgH="306" progId="TCLayout.ActiveDocument.1">
                  <p:embed/>
                </p:oleObj>
              </mc:Choice>
              <mc:Fallback>
                <p:oleObj name="think-cell Folie" r:id="rId10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2BE1EF-4549-4392-A069-4A855D1DC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" name="Graphic 162">
            <a:extLst>
              <a:ext uri="{FF2B5EF4-FFF2-40B4-BE49-F238E27FC236}">
                <a16:creationId xmlns:a16="http://schemas.microsoft.com/office/drawing/2014/main" id="{1BA2B2E2-D574-4136-AC8E-1A4AE34A4EF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gray">
          <a:xfrm>
            <a:off x="623393" y="1160463"/>
            <a:ext cx="7662811" cy="4676116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0A788415-4FB8-4D5E-ABE7-08B6C31D6AFA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 bwMode="gray">
          <a:xfrm>
            <a:off x="5799773" y="5782337"/>
            <a:ext cx="1869416" cy="80683"/>
            <a:chOff x="9918885" y="5769260"/>
            <a:chExt cx="1568735" cy="67705"/>
          </a:xfrm>
        </p:grpSpPr>
        <p:sp>
          <p:nvSpPr>
            <p:cNvPr id="90" name="Graphic 8">
              <a:extLst>
                <a:ext uri="{FF2B5EF4-FFF2-40B4-BE49-F238E27FC236}">
                  <a16:creationId xmlns:a16="http://schemas.microsoft.com/office/drawing/2014/main" id="{C51955D0-F746-4E0D-9D2E-46995CCE6489}"/>
                </a:ext>
              </a:extLst>
            </p:cNvPr>
            <p:cNvSpPr/>
            <p:nvPr/>
          </p:nvSpPr>
          <p:spPr bwMode="gray">
            <a:xfrm>
              <a:off x="10510440" y="5769260"/>
              <a:ext cx="385624" cy="67705"/>
            </a:xfrm>
            <a:custGeom>
              <a:avLst/>
              <a:gdLst>
                <a:gd name="connsiteX0" fmla="*/ 343134 w 385624"/>
                <a:gd name="connsiteY0" fmla="*/ 74260 h 74475"/>
                <a:gd name="connsiteX1" fmla="*/ 43380 w 385624"/>
                <a:gd name="connsiteY1" fmla="*/ 74260 h 74475"/>
                <a:gd name="connsiteX2" fmla="*/ 445 w 385624"/>
                <a:gd name="connsiteY2" fmla="*/ 31855 h 74475"/>
                <a:gd name="connsiteX3" fmla="*/ 445 w 385624"/>
                <a:gd name="connsiteY3" fmla="*/ 31590 h 74475"/>
                <a:gd name="connsiteX4" fmla="*/ 445 w 385624"/>
                <a:gd name="connsiteY4" fmla="*/ -214 h 74475"/>
                <a:gd name="connsiteX5" fmla="*/ 386069 w 385624"/>
                <a:gd name="connsiteY5" fmla="*/ -214 h 74475"/>
                <a:gd name="connsiteX6" fmla="*/ 386069 w 385624"/>
                <a:gd name="connsiteY6" fmla="*/ 31590 h 74475"/>
                <a:gd name="connsiteX7" fmla="*/ 343399 w 385624"/>
                <a:gd name="connsiteY7" fmla="*/ 74260 h 74475"/>
                <a:gd name="connsiteX8" fmla="*/ 343134 w 385624"/>
                <a:gd name="connsiteY8" fmla="*/ 74260 h 7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624" h="74475">
                  <a:moveTo>
                    <a:pt x="343134" y="74260"/>
                  </a:moveTo>
                  <a:lnTo>
                    <a:pt x="43380" y="74260"/>
                  </a:lnTo>
                  <a:cubicBezTo>
                    <a:pt x="19819" y="74419"/>
                    <a:pt x="604" y="55416"/>
                    <a:pt x="445" y="31855"/>
                  </a:cubicBezTo>
                  <a:cubicBezTo>
                    <a:pt x="445" y="31775"/>
                    <a:pt x="445" y="31669"/>
                    <a:pt x="445" y="31590"/>
                  </a:cubicBezTo>
                  <a:lnTo>
                    <a:pt x="445" y="-214"/>
                  </a:lnTo>
                  <a:lnTo>
                    <a:pt x="386069" y="-214"/>
                  </a:lnTo>
                  <a:lnTo>
                    <a:pt x="386069" y="31590"/>
                  </a:lnTo>
                  <a:cubicBezTo>
                    <a:pt x="386069" y="55152"/>
                    <a:pt x="366960" y="74260"/>
                    <a:pt x="343399" y="74260"/>
                  </a:cubicBezTo>
                  <a:cubicBezTo>
                    <a:pt x="343319" y="74260"/>
                    <a:pt x="343213" y="74260"/>
                    <a:pt x="343134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91" name="Graphic 8">
              <a:extLst>
                <a:ext uri="{FF2B5EF4-FFF2-40B4-BE49-F238E27FC236}">
                  <a16:creationId xmlns:a16="http://schemas.microsoft.com/office/drawing/2014/main" id="{C5750388-5D98-494D-90ED-EC3ABB1117EC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11101996" y="5769260"/>
              <a:ext cx="385624" cy="67705"/>
            </a:xfrm>
            <a:custGeom>
              <a:avLst/>
              <a:gdLst>
                <a:gd name="connsiteX0" fmla="*/ 343133 w 385624"/>
                <a:gd name="connsiteY0" fmla="*/ 74260 h 74475"/>
                <a:gd name="connsiteX1" fmla="*/ 43380 w 385624"/>
                <a:gd name="connsiteY1" fmla="*/ 74260 h 74475"/>
                <a:gd name="connsiteX2" fmla="*/ 445 w 385624"/>
                <a:gd name="connsiteY2" fmla="*/ 31855 h 74475"/>
                <a:gd name="connsiteX3" fmla="*/ 445 w 385624"/>
                <a:gd name="connsiteY3" fmla="*/ 31590 h 74475"/>
                <a:gd name="connsiteX4" fmla="*/ 445 w 385624"/>
                <a:gd name="connsiteY4" fmla="*/ -214 h 74475"/>
                <a:gd name="connsiteX5" fmla="*/ 386069 w 385624"/>
                <a:gd name="connsiteY5" fmla="*/ -214 h 74475"/>
                <a:gd name="connsiteX6" fmla="*/ 386069 w 385624"/>
                <a:gd name="connsiteY6" fmla="*/ 31590 h 74475"/>
                <a:gd name="connsiteX7" fmla="*/ 343399 w 385624"/>
                <a:gd name="connsiteY7" fmla="*/ 74260 h 74475"/>
                <a:gd name="connsiteX8" fmla="*/ 343133 w 385624"/>
                <a:gd name="connsiteY8" fmla="*/ 74260 h 7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624" h="74475">
                  <a:moveTo>
                    <a:pt x="343133" y="74260"/>
                  </a:moveTo>
                  <a:lnTo>
                    <a:pt x="43380" y="74260"/>
                  </a:lnTo>
                  <a:cubicBezTo>
                    <a:pt x="19819" y="74419"/>
                    <a:pt x="604" y="55416"/>
                    <a:pt x="445" y="31855"/>
                  </a:cubicBezTo>
                  <a:cubicBezTo>
                    <a:pt x="445" y="31775"/>
                    <a:pt x="445" y="31669"/>
                    <a:pt x="445" y="31590"/>
                  </a:cubicBezTo>
                  <a:lnTo>
                    <a:pt x="445" y="-214"/>
                  </a:lnTo>
                  <a:lnTo>
                    <a:pt x="386069" y="-214"/>
                  </a:lnTo>
                  <a:lnTo>
                    <a:pt x="386069" y="31590"/>
                  </a:lnTo>
                  <a:cubicBezTo>
                    <a:pt x="386069" y="55152"/>
                    <a:pt x="366960" y="74260"/>
                    <a:pt x="343399" y="74260"/>
                  </a:cubicBezTo>
                  <a:cubicBezTo>
                    <a:pt x="343319" y="74260"/>
                    <a:pt x="343213" y="74260"/>
                    <a:pt x="343133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92" name="Graphic 8">
              <a:extLst>
                <a:ext uri="{FF2B5EF4-FFF2-40B4-BE49-F238E27FC236}">
                  <a16:creationId xmlns:a16="http://schemas.microsoft.com/office/drawing/2014/main" id="{C825B732-0A00-44B2-83C8-4B12124089AE}"/>
                </a:ext>
              </a:extLst>
            </p:cNvPr>
            <p:cNvSpPr/>
            <p:nvPr/>
          </p:nvSpPr>
          <p:spPr bwMode="gray">
            <a:xfrm>
              <a:off x="9918885" y="5769260"/>
              <a:ext cx="385624" cy="67704"/>
            </a:xfrm>
            <a:custGeom>
              <a:avLst/>
              <a:gdLst>
                <a:gd name="connsiteX0" fmla="*/ 343399 w 385624"/>
                <a:gd name="connsiteY0" fmla="*/ 74260 h 74474"/>
                <a:gd name="connsiteX1" fmla="*/ 43381 w 385624"/>
                <a:gd name="connsiteY1" fmla="*/ 74260 h 74474"/>
                <a:gd name="connsiteX2" fmla="*/ 445 w 385624"/>
                <a:gd name="connsiteY2" fmla="*/ 31590 h 74474"/>
                <a:gd name="connsiteX3" fmla="*/ 445 w 385624"/>
                <a:gd name="connsiteY3" fmla="*/ -214 h 74474"/>
                <a:gd name="connsiteX4" fmla="*/ 386070 w 385624"/>
                <a:gd name="connsiteY4" fmla="*/ -214 h 74474"/>
                <a:gd name="connsiteX5" fmla="*/ 386070 w 385624"/>
                <a:gd name="connsiteY5" fmla="*/ 31590 h 74474"/>
                <a:gd name="connsiteX6" fmla="*/ 343399 w 385624"/>
                <a:gd name="connsiteY6" fmla="*/ 74260 h 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5624" h="74474">
                  <a:moveTo>
                    <a:pt x="343399" y="74260"/>
                  </a:moveTo>
                  <a:lnTo>
                    <a:pt x="43381" y="74260"/>
                  </a:lnTo>
                  <a:cubicBezTo>
                    <a:pt x="19766" y="74260"/>
                    <a:pt x="604" y="55204"/>
                    <a:pt x="445" y="31590"/>
                  </a:cubicBezTo>
                  <a:lnTo>
                    <a:pt x="445" y="-214"/>
                  </a:lnTo>
                  <a:lnTo>
                    <a:pt x="386070" y="-214"/>
                  </a:lnTo>
                  <a:lnTo>
                    <a:pt x="386070" y="31590"/>
                  </a:lnTo>
                  <a:cubicBezTo>
                    <a:pt x="386070" y="55152"/>
                    <a:pt x="366960" y="74260"/>
                    <a:pt x="343399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143" name="Rechteck 22">
            <a:extLst>
              <a:ext uri="{FF2B5EF4-FFF2-40B4-BE49-F238E27FC236}">
                <a16:creationId xmlns:a16="http://schemas.microsoft.com/office/drawing/2014/main" id="{CBFE8A66-761E-4E06-817D-7AF9DB96F34A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1" y="4797292"/>
            <a:ext cx="1703388" cy="1260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26000" bIns="72000" rtlCol="0" anchor="t"/>
          <a:lstStyle/>
          <a:p>
            <a:endParaRPr lang="en-US" sz="1400" b="1">
              <a:solidFill>
                <a:srgbClr val="009FE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6" name="Rechteck 22">
            <a:extLst>
              <a:ext uri="{FF2B5EF4-FFF2-40B4-BE49-F238E27FC236}">
                <a16:creationId xmlns:a16="http://schemas.microsoft.com/office/drawing/2014/main" id="{54AD9F60-B627-4700-A183-E0B33451AB7E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8904592" y="116074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algn="ctr"/>
            <a:endParaRPr lang="en-US" sz="2000" b="1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7" name="Text Placeholder 3">
            <a:extLst>
              <a:ext uri="{FF2B5EF4-FFF2-40B4-BE49-F238E27FC236}">
                <a16:creationId xmlns:a16="http://schemas.microsoft.com/office/drawing/2014/main" id="{8D0DE548-E9D2-4F6A-BE14-E240D13F2AE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32609" y="123275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504000" tIns="288000" rIns="144000" bIns="14400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170" name="Text Placeholder 3">
            <a:extLst>
              <a:ext uri="{FF2B5EF4-FFF2-40B4-BE49-F238E27FC236}">
                <a16:creationId xmlns:a16="http://schemas.microsoft.com/office/drawing/2014/main" id="{E7DA00C2-CB7D-4D2E-9439-3F6D7D89A8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324" y="4948924"/>
            <a:ext cx="1692064" cy="956736"/>
          </a:xfrm>
        </p:spPr>
        <p:txBody>
          <a:bodyPr lIns="0" tIns="0" rIns="144000" bIns="0" anchor="ctr" anchorCtr="0">
            <a:noAutofit/>
          </a:bodyPr>
          <a:lstStyle>
            <a:lvl1pPr algn="r">
              <a:buNone/>
              <a:defRPr sz="4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2" name="Text Placeholder 3">
            <a:extLst>
              <a:ext uri="{FF2B5EF4-FFF2-40B4-BE49-F238E27FC236}">
                <a16:creationId xmlns:a16="http://schemas.microsoft.com/office/drawing/2014/main" id="{76310A97-B96F-4013-8E01-4AC633F792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58144" y="130267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4" name="Rechteck 22">
            <a:extLst>
              <a:ext uri="{FF2B5EF4-FFF2-40B4-BE49-F238E27FC236}">
                <a16:creationId xmlns:a16="http://schemas.microsoft.com/office/drawing/2014/main" id="{FFA0F5B5-F586-4B10-A55A-AE332A18EB45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8904592" y="440110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algn="ctr"/>
            <a:endParaRPr lang="en-US" sz="2000" b="1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5" name="Text Placeholder 3">
            <a:extLst>
              <a:ext uri="{FF2B5EF4-FFF2-40B4-BE49-F238E27FC236}">
                <a16:creationId xmlns:a16="http://schemas.microsoft.com/office/drawing/2014/main" id="{EC7278C5-627E-4081-BE78-7DC81DD7D7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32609" y="447311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lIns="504000" tIns="288000" rIns="144000" bIns="144000" rtlCol="0">
            <a:normAutofit/>
          </a:bodyPr>
          <a:lstStyle>
            <a:lvl1pPr marL="0" indent="0">
              <a:buNone/>
              <a:defRPr lang="en-GB" sz="2000" b="1" dirty="0">
                <a:solidFill>
                  <a:schemeClr val="tx2"/>
                </a:solidFill>
              </a:defRPr>
            </a:lvl1pPr>
          </a:lstStyle>
          <a:p>
            <a:pPr marL="228594" lvl="0" indent="-228594">
              <a:lnSpc>
                <a:spcPct val="100000"/>
              </a:lnSpc>
              <a:spcBef>
                <a:spcPts val="0"/>
              </a:spcBef>
            </a:pPr>
            <a:r>
              <a:rPr lang="en-GB"/>
              <a:t>Description</a:t>
            </a:r>
          </a:p>
        </p:txBody>
      </p:sp>
      <p:sp>
        <p:nvSpPr>
          <p:cNvPr id="176" name="Text Placeholder 3">
            <a:extLst>
              <a:ext uri="{FF2B5EF4-FFF2-40B4-BE49-F238E27FC236}">
                <a16:creationId xmlns:a16="http://schemas.microsoft.com/office/drawing/2014/main" id="{ABF5F8D6-B992-449F-AAEC-B7D513D9B5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58144" y="454303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7" name="Rechteck 22">
            <a:extLst>
              <a:ext uri="{FF2B5EF4-FFF2-40B4-BE49-F238E27FC236}">
                <a16:creationId xmlns:a16="http://schemas.microsoft.com/office/drawing/2014/main" id="{3532B7CB-D4B0-4DB1-B04F-8E1E31CD9522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gray">
          <a:xfrm>
            <a:off x="8904592" y="278092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algn="ctr"/>
            <a:endParaRPr lang="en-US" sz="2000" b="1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8" name="Text Placeholder 3">
            <a:extLst>
              <a:ext uri="{FF2B5EF4-FFF2-40B4-BE49-F238E27FC236}">
                <a16:creationId xmlns:a16="http://schemas.microsoft.com/office/drawing/2014/main" id="{1175D43F-A21E-4E54-8D17-AD2BF60BB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32609" y="285293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lIns="504000" tIns="288000" rIns="144000" bIns="144000" rtlCol="0">
            <a:normAutofit/>
          </a:bodyPr>
          <a:lstStyle>
            <a:lvl1pPr marL="0" indent="0">
              <a:buNone/>
              <a:defRPr lang="en-GB" sz="2000" b="1" dirty="0">
                <a:solidFill>
                  <a:schemeClr val="tx2"/>
                </a:solidFill>
              </a:defRPr>
            </a:lvl1pPr>
          </a:lstStyle>
          <a:p>
            <a:pPr marL="228594" lvl="0" indent="-228594">
              <a:lnSpc>
                <a:spcPct val="100000"/>
              </a:lnSpc>
              <a:spcBef>
                <a:spcPts val="0"/>
              </a:spcBef>
            </a:pPr>
            <a:r>
              <a:rPr lang="en-GB"/>
              <a:t>Description</a:t>
            </a:r>
          </a:p>
        </p:txBody>
      </p:sp>
      <p:sp>
        <p:nvSpPr>
          <p:cNvPr id="179" name="Text Placeholder 3">
            <a:extLst>
              <a:ext uri="{FF2B5EF4-FFF2-40B4-BE49-F238E27FC236}">
                <a16:creationId xmlns:a16="http://schemas.microsoft.com/office/drawing/2014/main" id="{7A047DE7-3B3C-491D-9211-B8A383ABE4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58144" y="292285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49995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78DCEB5-9155-4443-B053-FBB3478A5E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E797D52-6AEB-41D2-BC95-741F2F3D5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D75F291-B186-437B-9BD4-204251E78F3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657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197" userDrawn="1">
          <p15:clr>
            <a:srgbClr val="5ACBF0"/>
          </p15:clr>
        </p15:guide>
        <p15:guide id="2" orient="horz" pos="3838" userDrawn="1">
          <p15:clr>
            <a:srgbClr val="5ACBF0"/>
          </p15:clr>
        </p15:guide>
        <p15:guide id="3" orient="horz" pos="1344" userDrawn="1">
          <p15:clr>
            <a:srgbClr val="5ACBF0"/>
          </p15:clr>
        </p15:guide>
        <p15:guide id="4" pos="483" userDrawn="1">
          <p15:clr>
            <a:srgbClr val="5ACBF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2BE1EF-4549-4392-A069-4A855D1DC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180861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06" imgH="306" progId="TCLayout.ActiveDocument.1">
                  <p:embed/>
                </p:oleObj>
              </mc:Choice>
              <mc:Fallback>
                <p:oleObj name="think-cell Folie" r:id="rId8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2BE1EF-4549-4392-A069-4A855D1DC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2">
            <a:extLst>
              <a:ext uri="{FF2B5EF4-FFF2-40B4-BE49-F238E27FC236}">
                <a16:creationId xmlns:a16="http://schemas.microsoft.com/office/drawing/2014/main" id="{1062872F-2FD3-4D2F-B909-6BFA8945A6C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6996789" y="2132856"/>
            <a:ext cx="4499811" cy="3533728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algn="ctr"/>
            <a:endParaRPr lang="en-US" sz="1600" b="1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89CF4FC5-E935-47DF-A98E-266B22FC27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47577" y="2278784"/>
            <a:ext cx="4499811" cy="3526705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648000" tIns="288000" rIns="144000" bIns="14400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  <p:sp>
        <p:nvSpPr>
          <p:cNvPr id="21" name="Rechteck 22">
            <a:extLst>
              <a:ext uri="{FF2B5EF4-FFF2-40B4-BE49-F238E27FC236}">
                <a16:creationId xmlns:a16="http://schemas.microsoft.com/office/drawing/2014/main" id="{F9EAA1AA-785E-461E-951A-CA30714148D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1" y="1178358"/>
            <a:ext cx="6167439" cy="4518895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26000" bIns="72000" rtlCol="0" anchor="t"/>
          <a:lstStyle/>
          <a:p>
            <a:endParaRPr lang="en-US" sz="1400" b="1">
              <a:solidFill>
                <a:srgbClr val="009FE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Graphic 13">
            <a:extLst>
              <a:ext uri="{FF2B5EF4-FFF2-40B4-BE49-F238E27FC236}">
                <a16:creationId xmlns:a16="http://schemas.microsoft.com/office/drawing/2014/main" id="{6BB9F159-479F-418E-AAC8-225C1C6257F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-1" y="1382125"/>
            <a:ext cx="5900888" cy="4207115"/>
          </a:xfrm>
          <a:custGeom>
            <a:avLst/>
            <a:gdLst>
              <a:gd name="connsiteX0" fmla="*/ 2193825 w 2193893"/>
              <a:gd name="connsiteY0" fmla="*/ 44547 h 1432178"/>
              <a:gd name="connsiteX1" fmla="*/ 2193825 w 2193893"/>
              <a:gd name="connsiteY1" fmla="*/ 1386429 h 1432178"/>
              <a:gd name="connsiteX2" fmla="*/ 2148677 w 2193893"/>
              <a:gd name="connsiteY2" fmla="*/ 1431578 h 1432178"/>
              <a:gd name="connsiteX3" fmla="*/ 44985 w 2193893"/>
              <a:gd name="connsiteY3" fmla="*/ 1431578 h 1432178"/>
              <a:gd name="connsiteX4" fmla="*/ 29364 w 2193893"/>
              <a:gd name="connsiteY4" fmla="*/ 1428625 h 1432178"/>
              <a:gd name="connsiteX5" fmla="*/ -68 w 2193893"/>
              <a:gd name="connsiteY5" fmla="*/ 1386429 h 1432178"/>
              <a:gd name="connsiteX6" fmla="*/ -68 w 2193893"/>
              <a:gd name="connsiteY6" fmla="*/ 44547 h 1432178"/>
              <a:gd name="connsiteX7" fmla="*/ 44985 w 2193893"/>
              <a:gd name="connsiteY7" fmla="*/ -601 h 1432178"/>
              <a:gd name="connsiteX8" fmla="*/ 2148677 w 2193893"/>
              <a:gd name="connsiteY8" fmla="*/ -601 h 1432178"/>
              <a:gd name="connsiteX9" fmla="*/ 2165727 w 2193893"/>
              <a:gd name="connsiteY9" fmla="*/ 2733 h 1432178"/>
              <a:gd name="connsiteX10" fmla="*/ 2193825 w 2193893"/>
              <a:gd name="connsiteY10" fmla="*/ 44547 h 1432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93893" h="1432178">
                <a:moveTo>
                  <a:pt x="2193825" y="44547"/>
                </a:moveTo>
                <a:lnTo>
                  <a:pt x="2193825" y="1386429"/>
                </a:lnTo>
                <a:cubicBezTo>
                  <a:pt x="2193825" y="1411366"/>
                  <a:pt x="2173613" y="1431578"/>
                  <a:pt x="2148677" y="1431578"/>
                </a:cubicBezTo>
                <a:lnTo>
                  <a:pt x="44985" y="1431578"/>
                </a:lnTo>
                <a:cubicBezTo>
                  <a:pt x="39639" y="1431588"/>
                  <a:pt x="34340" y="1430578"/>
                  <a:pt x="29364" y="1428625"/>
                </a:cubicBezTo>
                <a:cubicBezTo>
                  <a:pt x="11644" y="1422167"/>
                  <a:pt x="-125" y="1405289"/>
                  <a:pt x="-68" y="1386429"/>
                </a:cubicBezTo>
                <a:lnTo>
                  <a:pt x="-68" y="44547"/>
                </a:lnTo>
                <a:cubicBezTo>
                  <a:pt x="-68" y="19649"/>
                  <a:pt x="20088" y="-554"/>
                  <a:pt x="44985" y="-601"/>
                </a:cubicBezTo>
                <a:lnTo>
                  <a:pt x="2148677" y="-601"/>
                </a:lnTo>
                <a:cubicBezTo>
                  <a:pt x="2154516" y="-582"/>
                  <a:pt x="2160307" y="552"/>
                  <a:pt x="2165727" y="2733"/>
                </a:cubicBezTo>
                <a:cubicBezTo>
                  <a:pt x="2182700" y="9686"/>
                  <a:pt x="2193806" y="26202"/>
                  <a:pt x="2193825" y="44547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23" name="Freeform: Shape 13">
            <a:extLst>
              <a:ext uri="{FF2B5EF4-FFF2-40B4-BE49-F238E27FC236}">
                <a16:creationId xmlns:a16="http://schemas.microsoft.com/office/drawing/2014/main" id="{ECD7AD49-C71B-401A-AB19-5C820276DF31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0" y="1296514"/>
            <a:ext cx="5983421" cy="4580759"/>
          </a:xfrm>
          <a:custGeom>
            <a:avLst/>
            <a:gdLst>
              <a:gd name="connsiteX0" fmla="*/ 0 w 4655840"/>
              <a:gd name="connsiteY0" fmla="*/ 0 h 3564396"/>
              <a:gd name="connsiteX1" fmla="*/ 4489417 w 4655840"/>
              <a:gd name="connsiteY1" fmla="*/ 0 h 3564396"/>
              <a:gd name="connsiteX2" fmla="*/ 4655840 w 4655840"/>
              <a:gd name="connsiteY2" fmla="*/ 166423 h 3564396"/>
              <a:gd name="connsiteX3" fmla="*/ 4655840 w 4655840"/>
              <a:gd name="connsiteY3" fmla="*/ 3326189 h 3564396"/>
              <a:gd name="connsiteX4" fmla="*/ 4489417 w 4655840"/>
              <a:gd name="connsiteY4" fmla="*/ 3492612 h 3564396"/>
              <a:gd name="connsiteX5" fmla="*/ 4151003 w 4655840"/>
              <a:gd name="connsiteY5" fmla="*/ 3492612 h 3564396"/>
              <a:gd name="connsiteX6" fmla="*/ 4151003 w 4655840"/>
              <a:gd name="connsiteY6" fmla="*/ 3517249 h 3564396"/>
              <a:gd name="connsiteX7" fmla="*/ 4103856 w 4655840"/>
              <a:gd name="connsiteY7" fmla="*/ 3564396 h 3564396"/>
              <a:gd name="connsiteX8" fmla="*/ 3874895 w 4655840"/>
              <a:gd name="connsiteY8" fmla="*/ 3564396 h 3564396"/>
              <a:gd name="connsiteX9" fmla="*/ 3827748 w 4655840"/>
              <a:gd name="connsiteY9" fmla="*/ 3517249 h 3564396"/>
              <a:gd name="connsiteX10" fmla="*/ 3827748 w 4655840"/>
              <a:gd name="connsiteY10" fmla="*/ 3492612 h 3564396"/>
              <a:gd name="connsiteX11" fmla="*/ 3682951 w 4655840"/>
              <a:gd name="connsiteY11" fmla="*/ 3492612 h 3564396"/>
              <a:gd name="connsiteX12" fmla="*/ 3682951 w 4655840"/>
              <a:gd name="connsiteY12" fmla="*/ 3517249 h 3564396"/>
              <a:gd name="connsiteX13" fmla="*/ 3635804 w 4655840"/>
              <a:gd name="connsiteY13" fmla="*/ 3564396 h 3564396"/>
              <a:gd name="connsiteX14" fmla="*/ 3406843 w 4655840"/>
              <a:gd name="connsiteY14" fmla="*/ 3564396 h 3564396"/>
              <a:gd name="connsiteX15" fmla="*/ 3359696 w 4655840"/>
              <a:gd name="connsiteY15" fmla="*/ 3517249 h 3564396"/>
              <a:gd name="connsiteX16" fmla="*/ 3359696 w 4655840"/>
              <a:gd name="connsiteY16" fmla="*/ 3492612 h 3564396"/>
              <a:gd name="connsiteX17" fmla="*/ 3179676 w 4655840"/>
              <a:gd name="connsiteY17" fmla="*/ 3492612 h 3564396"/>
              <a:gd name="connsiteX18" fmla="*/ 3179676 w 4655840"/>
              <a:gd name="connsiteY18" fmla="*/ 3517249 h 3564396"/>
              <a:gd name="connsiteX19" fmla="*/ 3132529 w 4655840"/>
              <a:gd name="connsiteY19" fmla="*/ 3564396 h 3564396"/>
              <a:gd name="connsiteX20" fmla="*/ 2903568 w 4655840"/>
              <a:gd name="connsiteY20" fmla="*/ 3564396 h 3564396"/>
              <a:gd name="connsiteX21" fmla="*/ 2856421 w 4655840"/>
              <a:gd name="connsiteY21" fmla="*/ 3517249 h 3564396"/>
              <a:gd name="connsiteX22" fmla="*/ 2856421 w 4655840"/>
              <a:gd name="connsiteY22" fmla="*/ 3492612 h 3564396"/>
              <a:gd name="connsiteX23" fmla="*/ 0 w 4655840"/>
              <a:gd name="connsiteY23" fmla="*/ 3492612 h 3564396"/>
              <a:gd name="connsiteX24" fmla="*/ 0 w 4655840"/>
              <a:gd name="connsiteY24" fmla="*/ 3204356 h 3564396"/>
              <a:gd name="connsiteX25" fmla="*/ 4511825 w 4655840"/>
              <a:gd name="connsiteY25" fmla="*/ 3204356 h 3564396"/>
              <a:gd name="connsiteX26" fmla="*/ 4511825 w 4655840"/>
              <a:gd name="connsiteY26" fmla="*/ 144016 h 3564396"/>
              <a:gd name="connsiteX27" fmla="*/ 0 w 4655840"/>
              <a:gd name="connsiteY27" fmla="*/ 144016 h 3564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655840" h="3564396">
                <a:moveTo>
                  <a:pt x="0" y="0"/>
                </a:moveTo>
                <a:lnTo>
                  <a:pt x="4489417" y="0"/>
                </a:lnTo>
                <a:cubicBezTo>
                  <a:pt x="4581330" y="0"/>
                  <a:pt x="4655840" y="74510"/>
                  <a:pt x="4655840" y="166423"/>
                </a:cubicBezTo>
                <a:lnTo>
                  <a:pt x="4655840" y="3326189"/>
                </a:lnTo>
                <a:cubicBezTo>
                  <a:pt x="4655840" y="3418102"/>
                  <a:pt x="4581330" y="3492612"/>
                  <a:pt x="4489417" y="3492612"/>
                </a:cubicBezTo>
                <a:lnTo>
                  <a:pt x="4151003" y="3492612"/>
                </a:lnTo>
                <a:lnTo>
                  <a:pt x="4151003" y="3517249"/>
                </a:lnTo>
                <a:cubicBezTo>
                  <a:pt x="4151003" y="3543288"/>
                  <a:pt x="4129895" y="3564396"/>
                  <a:pt x="4103856" y="3564396"/>
                </a:cubicBezTo>
                <a:lnTo>
                  <a:pt x="3874895" y="3564396"/>
                </a:lnTo>
                <a:cubicBezTo>
                  <a:pt x="3848856" y="3564396"/>
                  <a:pt x="3827748" y="3543288"/>
                  <a:pt x="3827748" y="3517249"/>
                </a:cubicBezTo>
                <a:lnTo>
                  <a:pt x="3827748" y="3492612"/>
                </a:lnTo>
                <a:lnTo>
                  <a:pt x="3682951" y="3492612"/>
                </a:lnTo>
                <a:lnTo>
                  <a:pt x="3682951" y="3517249"/>
                </a:lnTo>
                <a:cubicBezTo>
                  <a:pt x="3682951" y="3543288"/>
                  <a:pt x="3661843" y="3564396"/>
                  <a:pt x="3635804" y="3564396"/>
                </a:cubicBezTo>
                <a:lnTo>
                  <a:pt x="3406843" y="3564396"/>
                </a:lnTo>
                <a:cubicBezTo>
                  <a:pt x="3380804" y="3564396"/>
                  <a:pt x="3359696" y="3543288"/>
                  <a:pt x="3359696" y="3517249"/>
                </a:cubicBezTo>
                <a:lnTo>
                  <a:pt x="3359696" y="3492612"/>
                </a:lnTo>
                <a:lnTo>
                  <a:pt x="3179676" y="3492612"/>
                </a:lnTo>
                <a:lnTo>
                  <a:pt x="3179676" y="3517249"/>
                </a:lnTo>
                <a:cubicBezTo>
                  <a:pt x="3179676" y="3543288"/>
                  <a:pt x="3158568" y="3564396"/>
                  <a:pt x="3132529" y="3564396"/>
                </a:cubicBezTo>
                <a:lnTo>
                  <a:pt x="2903568" y="3564396"/>
                </a:lnTo>
                <a:cubicBezTo>
                  <a:pt x="2877529" y="3564396"/>
                  <a:pt x="2856421" y="3543288"/>
                  <a:pt x="2856421" y="3517249"/>
                </a:cubicBezTo>
                <a:lnTo>
                  <a:pt x="2856421" y="3492612"/>
                </a:lnTo>
                <a:lnTo>
                  <a:pt x="0" y="3492612"/>
                </a:lnTo>
                <a:lnTo>
                  <a:pt x="0" y="3204356"/>
                </a:lnTo>
                <a:lnTo>
                  <a:pt x="4511825" y="3204356"/>
                </a:lnTo>
                <a:lnTo>
                  <a:pt x="4511825" y="144016"/>
                </a:lnTo>
                <a:lnTo>
                  <a:pt x="0" y="144016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CA6A8F0-846F-4167-B7E5-22F03BA52704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6381991" y="2387324"/>
            <a:ext cx="936000" cy="936000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pl-PL" sz="133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vs</a:t>
            </a:r>
            <a:endParaRPr lang="en-US" sz="133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BAD32E1-C945-46E8-9018-CA00D2F1789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4136" y="2387324"/>
            <a:ext cx="936000" cy="936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2"/>
            </a:solidFill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155187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öp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2FC641E1-B8E3-413B-904A-2440DD1ED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810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2E1FDC18-783E-41B0-A0D2-168EE16F3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9B581941-4DFC-434A-86AA-4C1552688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24642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DB581137-3902-47A4-B44D-30D80149B4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26214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A208E58-4EC9-4B06-A80F-E2943394BD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27786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19039486-E685-4E1E-90DD-040C8A5525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0601" y="4942047"/>
            <a:ext cx="3036047" cy="956736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AE1C2790-44C2-4FE8-ABB1-D94E61B6F7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7978" y="4943791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56DAC46A-A81D-4BF6-853B-46D6CBA80C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469" y="4942047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9A11213-6B94-4070-B425-F3D4934CE78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42855" y="2647952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45B65062-1C74-4975-AB11-DD0AD47E1D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423504" y="2647952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4" name="Bildplatzhalter 6">
            <a:extLst>
              <a:ext uri="{FF2B5EF4-FFF2-40B4-BE49-F238E27FC236}">
                <a16:creationId xmlns:a16="http://schemas.microsoft.com/office/drawing/2014/main" id="{B8892F41-2115-496D-8249-7B6E9DA4EB7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45996" y="2647952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137964808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3A081B37-E57B-48A2-AC9E-4C379D3B89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692" y="2494279"/>
            <a:ext cx="1044000" cy="1044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297B832-0F11-4184-8F58-81CF859E33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42643" y="1363879"/>
            <a:ext cx="1044000" cy="1044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58F55ED-DB6A-479A-B682-3AB85F09F6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74063" y="2494279"/>
            <a:ext cx="1044000" cy="1044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38F46AA-D2E1-4A9E-A65E-BF6590DA664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97867" y="1363879"/>
            <a:ext cx="1044000" cy="1044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EFAFAC9-23DC-43C2-9ADB-F76F4CE706E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23275" y="4940401"/>
            <a:ext cx="1044000" cy="1044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F36B00A-61CE-4138-B78D-643C3EE90EA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39297" y="3809901"/>
            <a:ext cx="1044000" cy="1044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6F6A55E-7A12-4A71-BB5D-BF0E01662F43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745033" y="4940401"/>
            <a:ext cx="1044000" cy="1044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CFACE34-BF9F-4E6D-9561-D540D2CF7D3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741439" y="3809901"/>
            <a:ext cx="1044000" cy="1044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413FF27-BA52-4273-A50A-F4100BB7D01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8285" y="2494279"/>
            <a:ext cx="1044000" cy="1044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3E35579-64AF-4682-AC8C-8FE30B29E3C7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09600" y="1363879"/>
            <a:ext cx="1044000" cy="1044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BAF70398-B919-4639-9C97-1ED35EDC7B8F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4896520" y="2494279"/>
            <a:ext cx="1044000" cy="1044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B424053-AFD7-4E94-BDBE-483630C81136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896520" y="1363879"/>
            <a:ext cx="1044000" cy="1044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03F1A61-6359-4273-B302-E846FF9B6314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107331" y="2494279"/>
            <a:ext cx="1044000" cy="1044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244A3B7D-14F6-4273-9FA2-ABD4F1E05843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8081504" y="1363879"/>
            <a:ext cx="1044000" cy="1044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22A49A86-9DE1-432A-9A12-E5E664D46A62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712464" y="2494279"/>
            <a:ext cx="1044000" cy="1044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B3ED136C-AFF3-4DE4-B377-1E83FC24B590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741439" y="1363879"/>
            <a:ext cx="1044000" cy="1044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5C6AD4FD-9D36-4DF8-A9BC-E107A62A8260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886881" y="4940401"/>
            <a:ext cx="1044000" cy="1044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9573D5A-5CE8-4ABA-8B10-DFC508FC9C30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811067" y="3809901"/>
            <a:ext cx="1044000" cy="1044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22D77ED-D0EC-480B-8F58-275A5C25D6DB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828451" y="2494279"/>
            <a:ext cx="1044000" cy="10440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6489A5EA-9CCC-4A15-A410-B2026DF0F238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3823547" y="1363879"/>
            <a:ext cx="1044000" cy="10440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DAA6DEA-6635-4248-AF8E-D44D50D7F16B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930881" y="4940401"/>
            <a:ext cx="1044000" cy="1044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AD1B1F4-9400-4057-84EE-557904E5B1A1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4879275" y="3809901"/>
            <a:ext cx="1044000" cy="10440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52C8BE19-2849-4FD4-A169-E1063DB50417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671811" y="3809901"/>
            <a:ext cx="1044000" cy="104400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4AA2F212-9470-496A-87E2-55B8A58EF4FA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678516" y="4940401"/>
            <a:ext cx="1044000" cy="104400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52F79728-FF7D-4B50-9478-536B0CB38F10}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609600" y="3809901"/>
            <a:ext cx="1044000" cy="10440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86CC9833-B63D-4885-89AF-0999C90FF18E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609600" y="4940401"/>
            <a:ext cx="1044000" cy="104400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35E9ECD9-E10E-4CBA-BF52-4670D794D592}"/>
              </a:ext>
            </a:extLst>
          </p:cNvPr>
          <p:cNvPicPr>
            <a:picLocks noChangeAspect="1"/>
          </p:cNvPicPr>
          <p:nvPr userDrawn="1"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8120863" y="3809901"/>
            <a:ext cx="1044000" cy="1044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AE32466E-9C49-47B3-AFAC-9704D0A86BEA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8174448" y="4940401"/>
            <a:ext cx="1044000" cy="1044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D1F1DB1D-D9AE-4D6B-8727-B6E25271C409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9230063" y="4940301"/>
            <a:ext cx="1044000" cy="1044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6FA8DC32-CC3B-41D8-BD42-0BD97DA6806F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9207329" y="3809901"/>
            <a:ext cx="1044000" cy="1044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9E30971E-6883-445B-883D-0CA8B2DA11F8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7024584" y="4940401"/>
            <a:ext cx="1044000" cy="10440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D621922B-D161-4786-8E9A-219FB2CC39E6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7030880" y="3809901"/>
            <a:ext cx="1044000" cy="10440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E0DDB2FD-F90D-41D7-B681-54C600089E09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668464" y="2494279"/>
            <a:ext cx="1044000" cy="10440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844CBE15-A36E-4639-872B-E2DD409D85E5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674513" y="1363879"/>
            <a:ext cx="1044000" cy="10440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12808483-DB95-4D93-A059-578112FE1EA6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7024584" y="1363879"/>
            <a:ext cx="1044000" cy="1044000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4F20F2D2-CEF1-4AF3-91EF-17308C8D6DE9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7002491" y="2494279"/>
            <a:ext cx="1044000" cy="1044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79B1C5B4-72F4-4F4C-89A5-843A94CB6958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5963445" y="1363879"/>
            <a:ext cx="1044000" cy="104400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F6C36229-30EB-405E-8BC0-F70774E67A6A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5923275" y="2494279"/>
            <a:ext cx="1044000" cy="10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5579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9FD2AF-0E30-4B52-9674-D475A9DE1D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856A205-2035-4412-AADC-29EB3E74D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D75F291-B186-437B-9BD4-204251E78F38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B8E0EFC-E370-4114-AEE8-D6B92840DD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67408" y="1196752"/>
            <a:ext cx="7920880" cy="360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1pPr>
            <a:lvl2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2pPr>
            <a:lvl3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3pPr>
            <a:lvl4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9pPr>
          </a:lstStyle>
          <a:p>
            <a:pPr lvl="0"/>
            <a:r>
              <a:rPr lang="en-GB" err="1"/>
              <a:t>Optionale</a:t>
            </a:r>
            <a:r>
              <a:rPr lang="en-GB"/>
              <a:t> Sub-Headline</a:t>
            </a:r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172FE0-F09B-46EA-905A-FA9C5FEC62F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5EC7B2AB-1BB5-47BD-BA45-4A24038C63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1920064" y="2132856"/>
            <a:ext cx="1296000" cy="1296000"/>
          </a:xfrm>
          <a:prstGeom prst="ellipse">
            <a:avLst/>
          </a:prstGeom>
          <a:solidFill>
            <a:schemeClr val="bg2"/>
          </a:solidFill>
        </p:spPr>
        <p:txBody>
          <a:bodyPr bIns="828000" anchor="ctr">
            <a:normAutofit/>
          </a:bodyPr>
          <a:lstStyle>
            <a:lvl1pPr algn="ctr">
              <a:defRPr sz="1200"/>
            </a:lvl1pPr>
          </a:lstStyle>
          <a:p>
            <a:endParaRPr lang="de-DE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E7DE8488-BF17-4C52-A8D2-BA1DCEB8AFB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1127832" y="3645495"/>
            <a:ext cx="2880704" cy="431577"/>
          </a:xfrm>
        </p:spPr>
        <p:txBody>
          <a:bodyPr>
            <a:noAutofit/>
          </a:bodyPr>
          <a:lstStyle>
            <a:lvl1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1pPr>
            <a:lvl2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2pPr>
            <a:lvl3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3pPr>
            <a:lvl4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4pPr>
            <a:lvl5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5pPr>
            <a:lvl6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6pPr>
            <a:lvl7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7pPr>
            <a:lvl8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8pPr>
            <a:lvl9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9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Zwei</a:t>
            </a:r>
          </a:p>
          <a:p>
            <a:pPr lvl="2"/>
            <a:r>
              <a:rPr lang="en-GB" err="1"/>
              <a:t>Drei</a:t>
            </a:r>
            <a:endParaRPr lang="en-GB"/>
          </a:p>
          <a:p>
            <a:pPr lvl="3"/>
            <a:r>
              <a:rPr lang="en-GB" err="1"/>
              <a:t>Vier</a:t>
            </a:r>
            <a:endParaRPr lang="en-GB"/>
          </a:p>
          <a:p>
            <a:pPr lvl="4"/>
            <a:r>
              <a:rPr lang="en-GB" err="1"/>
              <a:t>Fünf</a:t>
            </a:r>
            <a:endParaRPr lang="en-GB"/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BF6649A9-F073-438D-8044-3778AAD4707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 bwMode="gray">
          <a:xfrm>
            <a:off x="1127448" y="4149551"/>
            <a:ext cx="2880704" cy="1943274"/>
          </a:xfrm>
        </p:spPr>
        <p:txBody>
          <a:bodyPr>
            <a:noAutofit/>
          </a:bodyPr>
          <a:lstStyle>
            <a:lvl1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1pPr>
            <a:lvl2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2pPr>
            <a:lvl3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3pPr>
            <a:lvl4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4pPr>
            <a:lvl5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5pPr>
            <a:lvl6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6pPr>
            <a:lvl7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7pPr>
            <a:lvl8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8pPr>
            <a:lvl9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Description</a:t>
            </a:r>
          </a:p>
          <a:p>
            <a:pPr lvl="1"/>
            <a:r>
              <a:rPr lang="en-GB"/>
              <a:t>Zwei</a:t>
            </a:r>
          </a:p>
          <a:p>
            <a:pPr lvl="2"/>
            <a:r>
              <a:rPr lang="en-GB" err="1"/>
              <a:t>Drei</a:t>
            </a:r>
            <a:endParaRPr lang="en-GB"/>
          </a:p>
          <a:p>
            <a:pPr lvl="3"/>
            <a:r>
              <a:rPr lang="en-GB" err="1"/>
              <a:t>Vier</a:t>
            </a:r>
            <a:endParaRPr lang="en-GB"/>
          </a:p>
          <a:p>
            <a:pPr lvl="4"/>
            <a:r>
              <a:rPr lang="en-GB" err="1"/>
              <a:t>Fünf</a:t>
            </a:r>
            <a:endParaRPr lang="en-GB"/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E1CA66A1-C508-404B-BDBC-1971F62772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5304056" y="2132856"/>
            <a:ext cx="1296000" cy="1296000"/>
          </a:xfrm>
          <a:prstGeom prst="ellipse">
            <a:avLst/>
          </a:prstGeom>
          <a:solidFill>
            <a:schemeClr val="bg2"/>
          </a:solidFill>
        </p:spPr>
        <p:txBody>
          <a:bodyPr bIns="828000" anchor="ctr">
            <a:normAutofit/>
          </a:bodyPr>
          <a:lstStyle>
            <a:lvl1pPr algn="ctr">
              <a:defRPr sz="1200"/>
            </a:lvl1pPr>
          </a:lstStyle>
          <a:p>
            <a:endParaRPr lang="de-DE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1C188FD5-047D-4A29-8E2A-5F9BDD1986A9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 bwMode="gray">
          <a:xfrm>
            <a:off x="4511824" y="3645495"/>
            <a:ext cx="2880704" cy="431577"/>
          </a:xfrm>
        </p:spPr>
        <p:txBody>
          <a:bodyPr>
            <a:noAutofit/>
          </a:bodyPr>
          <a:lstStyle>
            <a:lvl1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1pPr>
            <a:lvl2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2pPr>
            <a:lvl3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3pPr>
            <a:lvl4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4pPr>
            <a:lvl5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5pPr>
            <a:lvl6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6pPr>
            <a:lvl7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7pPr>
            <a:lvl8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8pPr>
            <a:lvl9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9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Zwei</a:t>
            </a:r>
          </a:p>
          <a:p>
            <a:pPr lvl="2"/>
            <a:r>
              <a:rPr lang="en-GB" err="1"/>
              <a:t>Drei</a:t>
            </a:r>
            <a:endParaRPr lang="en-GB"/>
          </a:p>
          <a:p>
            <a:pPr lvl="3"/>
            <a:r>
              <a:rPr lang="en-GB" err="1"/>
              <a:t>Vier</a:t>
            </a:r>
            <a:endParaRPr lang="en-GB"/>
          </a:p>
          <a:p>
            <a:pPr lvl="4"/>
            <a:r>
              <a:rPr lang="en-GB" err="1"/>
              <a:t>Fünf</a:t>
            </a:r>
            <a:endParaRPr lang="en-GB"/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3F26723E-8610-4C8B-98C6-BB6EC169D6E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 bwMode="gray">
          <a:xfrm>
            <a:off x="4511440" y="4149551"/>
            <a:ext cx="2880704" cy="1943274"/>
          </a:xfrm>
        </p:spPr>
        <p:txBody>
          <a:bodyPr>
            <a:noAutofit/>
          </a:bodyPr>
          <a:lstStyle>
            <a:lvl1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1pPr>
            <a:lvl2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2pPr>
            <a:lvl3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3pPr>
            <a:lvl4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4pPr>
            <a:lvl5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5pPr>
            <a:lvl6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6pPr>
            <a:lvl7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7pPr>
            <a:lvl8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8pPr>
            <a:lvl9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Description</a:t>
            </a:r>
          </a:p>
          <a:p>
            <a:pPr lvl="1"/>
            <a:r>
              <a:rPr lang="en-GB"/>
              <a:t>Zwei</a:t>
            </a:r>
          </a:p>
          <a:p>
            <a:pPr lvl="2"/>
            <a:r>
              <a:rPr lang="en-GB" err="1"/>
              <a:t>Drei</a:t>
            </a:r>
            <a:endParaRPr lang="en-GB"/>
          </a:p>
          <a:p>
            <a:pPr lvl="3"/>
            <a:r>
              <a:rPr lang="en-GB" err="1"/>
              <a:t>Vier</a:t>
            </a:r>
            <a:endParaRPr lang="en-GB"/>
          </a:p>
          <a:p>
            <a:pPr lvl="4"/>
            <a:r>
              <a:rPr lang="en-GB" err="1"/>
              <a:t>Fünf</a:t>
            </a:r>
            <a:endParaRPr lang="en-GB"/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14" name="Bildplatzhalter 7">
            <a:extLst>
              <a:ext uri="{FF2B5EF4-FFF2-40B4-BE49-F238E27FC236}">
                <a16:creationId xmlns:a16="http://schemas.microsoft.com/office/drawing/2014/main" id="{4B5C5BBF-B744-4DFC-9BFB-5EF6294BA08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8688048" y="2132856"/>
            <a:ext cx="1296000" cy="1296000"/>
          </a:xfrm>
          <a:prstGeom prst="ellipse">
            <a:avLst/>
          </a:prstGeom>
          <a:solidFill>
            <a:schemeClr val="bg2"/>
          </a:solidFill>
        </p:spPr>
        <p:txBody>
          <a:bodyPr bIns="828000" anchor="ctr">
            <a:normAutofit/>
          </a:bodyPr>
          <a:lstStyle>
            <a:lvl1pPr algn="ctr">
              <a:defRPr sz="1200"/>
            </a:lvl1pPr>
          </a:lstStyle>
          <a:p>
            <a:endParaRPr lang="de-DE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89355300-EC27-4CF3-8AC6-CB8691A4F21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 bwMode="gray">
          <a:xfrm>
            <a:off x="7895816" y="3645495"/>
            <a:ext cx="2880704" cy="431577"/>
          </a:xfrm>
        </p:spPr>
        <p:txBody>
          <a:bodyPr>
            <a:noAutofit/>
          </a:bodyPr>
          <a:lstStyle>
            <a:lvl1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1pPr>
            <a:lvl2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2pPr>
            <a:lvl3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3pPr>
            <a:lvl4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4pPr>
            <a:lvl5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5pPr>
            <a:lvl6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6pPr>
            <a:lvl7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7pPr>
            <a:lvl8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8pPr>
            <a:lvl9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9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Zwei</a:t>
            </a:r>
          </a:p>
          <a:p>
            <a:pPr lvl="2"/>
            <a:r>
              <a:rPr lang="en-GB" err="1"/>
              <a:t>Drei</a:t>
            </a:r>
            <a:endParaRPr lang="en-GB"/>
          </a:p>
          <a:p>
            <a:pPr lvl="3"/>
            <a:r>
              <a:rPr lang="en-GB" err="1"/>
              <a:t>Vier</a:t>
            </a:r>
            <a:endParaRPr lang="en-GB"/>
          </a:p>
          <a:p>
            <a:pPr lvl="4"/>
            <a:r>
              <a:rPr lang="en-GB" err="1"/>
              <a:t>Fünf</a:t>
            </a:r>
            <a:endParaRPr lang="en-GB"/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F20DC08D-25DD-45A6-9E57-CDAB35917868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 bwMode="gray">
          <a:xfrm>
            <a:off x="7895432" y="4149551"/>
            <a:ext cx="2880704" cy="1943274"/>
          </a:xfrm>
        </p:spPr>
        <p:txBody>
          <a:bodyPr>
            <a:noAutofit/>
          </a:bodyPr>
          <a:lstStyle>
            <a:lvl1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1pPr>
            <a:lvl2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2pPr>
            <a:lvl3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3pPr>
            <a:lvl4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4pPr>
            <a:lvl5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5pPr>
            <a:lvl6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6pPr>
            <a:lvl7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7pPr>
            <a:lvl8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8pPr>
            <a:lvl9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Description</a:t>
            </a:r>
          </a:p>
          <a:p>
            <a:pPr lvl="1"/>
            <a:r>
              <a:rPr lang="en-GB"/>
              <a:t>Zwei</a:t>
            </a:r>
          </a:p>
          <a:p>
            <a:pPr lvl="2"/>
            <a:r>
              <a:rPr lang="en-GB" err="1"/>
              <a:t>Drei</a:t>
            </a:r>
            <a:endParaRPr lang="en-GB"/>
          </a:p>
          <a:p>
            <a:pPr lvl="3"/>
            <a:r>
              <a:rPr lang="en-GB" err="1"/>
              <a:t>Vier</a:t>
            </a:r>
            <a:endParaRPr lang="en-GB"/>
          </a:p>
          <a:p>
            <a:pPr lvl="4"/>
            <a:r>
              <a:rPr lang="en-GB" err="1"/>
              <a:t>Fünf</a:t>
            </a:r>
            <a:endParaRPr lang="en-GB"/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6798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197" userDrawn="1">
          <p15:clr>
            <a:srgbClr val="5ACBF0"/>
          </p15:clr>
        </p15:guide>
        <p15:guide id="2" orient="horz" pos="3838" userDrawn="1">
          <p15:clr>
            <a:srgbClr val="5ACBF0"/>
          </p15:clr>
        </p15:guide>
        <p15:guide id="3" pos="483" userDrawn="1">
          <p15:clr>
            <a:srgbClr val="5ACBF0"/>
          </p15:clr>
        </p15:guide>
        <p15:guide id="4" orient="horz" pos="1344" userDrawn="1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8CD0FA8F-1345-4EF2-8691-A68DDE9755A8}"/>
              </a:ext>
            </a:extLst>
          </p:cNvPr>
          <p:cNvSpPr/>
          <p:nvPr userDrawn="1"/>
        </p:nvSpPr>
        <p:spPr bwMode="gray">
          <a:xfrm>
            <a:off x="5394586" y="2223914"/>
            <a:ext cx="1296000" cy="1296000"/>
          </a:xfrm>
          <a:prstGeom prst="rect">
            <a:avLst/>
          </a:prstGeom>
          <a:pattFill prst="ltUpDiag">
            <a:fgClr>
              <a:schemeClr val="tx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7459C78-BBBF-4479-85FB-364180723BB6}"/>
              </a:ext>
            </a:extLst>
          </p:cNvPr>
          <p:cNvSpPr/>
          <p:nvPr userDrawn="1"/>
        </p:nvSpPr>
        <p:spPr bwMode="gray">
          <a:xfrm>
            <a:off x="8778578" y="2223914"/>
            <a:ext cx="1296000" cy="1296000"/>
          </a:xfrm>
          <a:prstGeom prst="rect">
            <a:avLst/>
          </a:prstGeom>
          <a:pattFill prst="ltUpDiag">
            <a:fgClr>
              <a:schemeClr val="tx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5A718E8-9C93-457E-88A6-5B2F72A76218}"/>
              </a:ext>
            </a:extLst>
          </p:cNvPr>
          <p:cNvSpPr/>
          <p:nvPr userDrawn="1"/>
        </p:nvSpPr>
        <p:spPr bwMode="gray">
          <a:xfrm>
            <a:off x="2010594" y="2223914"/>
            <a:ext cx="1296000" cy="1296000"/>
          </a:xfrm>
          <a:prstGeom prst="rect">
            <a:avLst/>
          </a:prstGeom>
          <a:pattFill prst="ltUpDiag">
            <a:fgClr>
              <a:schemeClr val="tx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9FD2AF-0E30-4B52-9674-D475A9DE1D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856A205-2035-4412-AADC-29EB3E74D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D75F291-B186-437B-9BD4-204251E78F38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B8E0EFC-E370-4114-AEE8-D6B92840DD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67408" y="1196752"/>
            <a:ext cx="7920880" cy="360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1pPr>
            <a:lvl2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2pPr>
            <a:lvl3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3pPr>
            <a:lvl4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9pPr>
          </a:lstStyle>
          <a:p>
            <a:pPr lvl="0"/>
            <a:r>
              <a:rPr lang="en-GB" err="1"/>
              <a:t>Optionale</a:t>
            </a:r>
            <a:r>
              <a:rPr lang="en-GB"/>
              <a:t> Sub-Headline</a:t>
            </a:r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172FE0-F09B-46EA-905A-FA9C5FEC62F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5EC7B2AB-1BB5-47BD-BA45-4A24038C63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1920064" y="2132856"/>
            <a:ext cx="1296000" cy="1296000"/>
          </a:xfrm>
          <a:prstGeom prst="rect">
            <a:avLst/>
          </a:prstGeom>
          <a:solidFill>
            <a:schemeClr val="bg2"/>
          </a:solidFill>
        </p:spPr>
        <p:txBody>
          <a:bodyPr bIns="828000" anchor="ctr">
            <a:normAutofit/>
          </a:bodyPr>
          <a:lstStyle>
            <a:lvl1pPr algn="ctr">
              <a:defRPr sz="1200"/>
            </a:lvl1pPr>
          </a:lstStyle>
          <a:p>
            <a:endParaRPr lang="de-DE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E7DE8488-BF17-4C52-A8D2-BA1DCEB8AFB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1127832" y="3645495"/>
            <a:ext cx="2880704" cy="431577"/>
          </a:xfrm>
        </p:spPr>
        <p:txBody>
          <a:bodyPr>
            <a:noAutofit/>
          </a:bodyPr>
          <a:lstStyle>
            <a:lvl1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1pPr>
            <a:lvl2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2pPr>
            <a:lvl3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3pPr>
            <a:lvl4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4pPr>
            <a:lvl5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5pPr>
            <a:lvl6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6pPr>
            <a:lvl7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7pPr>
            <a:lvl8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8pPr>
            <a:lvl9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9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Zwei</a:t>
            </a:r>
          </a:p>
          <a:p>
            <a:pPr lvl="2"/>
            <a:r>
              <a:rPr lang="en-GB" err="1"/>
              <a:t>Drei</a:t>
            </a:r>
            <a:endParaRPr lang="en-GB"/>
          </a:p>
          <a:p>
            <a:pPr lvl="3"/>
            <a:r>
              <a:rPr lang="en-GB" err="1"/>
              <a:t>Vier</a:t>
            </a:r>
            <a:endParaRPr lang="en-GB"/>
          </a:p>
          <a:p>
            <a:pPr lvl="4"/>
            <a:r>
              <a:rPr lang="en-GB" err="1"/>
              <a:t>Fünf</a:t>
            </a:r>
            <a:endParaRPr lang="en-GB"/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BF6649A9-F073-438D-8044-3778AAD4707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 bwMode="gray">
          <a:xfrm>
            <a:off x="1127448" y="4149551"/>
            <a:ext cx="2880704" cy="1943274"/>
          </a:xfrm>
        </p:spPr>
        <p:txBody>
          <a:bodyPr>
            <a:noAutofit/>
          </a:bodyPr>
          <a:lstStyle>
            <a:lvl1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1pPr>
            <a:lvl2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2pPr>
            <a:lvl3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3pPr>
            <a:lvl4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4pPr>
            <a:lvl5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5pPr>
            <a:lvl6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6pPr>
            <a:lvl7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7pPr>
            <a:lvl8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8pPr>
            <a:lvl9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Description</a:t>
            </a:r>
          </a:p>
          <a:p>
            <a:pPr lvl="1"/>
            <a:r>
              <a:rPr lang="en-GB"/>
              <a:t>Zwei</a:t>
            </a:r>
          </a:p>
          <a:p>
            <a:pPr lvl="2"/>
            <a:r>
              <a:rPr lang="en-GB" err="1"/>
              <a:t>Drei</a:t>
            </a:r>
            <a:endParaRPr lang="en-GB"/>
          </a:p>
          <a:p>
            <a:pPr lvl="3"/>
            <a:r>
              <a:rPr lang="en-GB" err="1"/>
              <a:t>Vier</a:t>
            </a:r>
            <a:endParaRPr lang="en-GB"/>
          </a:p>
          <a:p>
            <a:pPr lvl="4"/>
            <a:r>
              <a:rPr lang="en-GB" err="1"/>
              <a:t>Fünf</a:t>
            </a:r>
            <a:endParaRPr lang="en-GB"/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E1CA66A1-C508-404B-BDBC-1971F62772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5304056" y="2132856"/>
            <a:ext cx="1296000" cy="1296000"/>
          </a:xfrm>
          <a:prstGeom prst="rect">
            <a:avLst/>
          </a:prstGeom>
          <a:solidFill>
            <a:schemeClr val="bg2"/>
          </a:solidFill>
        </p:spPr>
        <p:txBody>
          <a:bodyPr bIns="828000" anchor="ctr">
            <a:normAutofit/>
          </a:bodyPr>
          <a:lstStyle>
            <a:lvl1pPr algn="ctr">
              <a:defRPr sz="1200"/>
            </a:lvl1pPr>
          </a:lstStyle>
          <a:p>
            <a:endParaRPr lang="de-DE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1C188FD5-047D-4A29-8E2A-5F9BDD1986A9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 bwMode="gray">
          <a:xfrm>
            <a:off x="4511824" y="3645495"/>
            <a:ext cx="2880704" cy="431577"/>
          </a:xfrm>
        </p:spPr>
        <p:txBody>
          <a:bodyPr>
            <a:noAutofit/>
          </a:bodyPr>
          <a:lstStyle>
            <a:lvl1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1pPr>
            <a:lvl2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2pPr>
            <a:lvl3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3pPr>
            <a:lvl4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4pPr>
            <a:lvl5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5pPr>
            <a:lvl6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6pPr>
            <a:lvl7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7pPr>
            <a:lvl8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8pPr>
            <a:lvl9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9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Zwei</a:t>
            </a:r>
          </a:p>
          <a:p>
            <a:pPr lvl="2"/>
            <a:r>
              <a:rPr lang="en-GB" err="1"/>
              <a:t>Drei</a:t>
            </a:r>
            <a:endParaRPr lang="en-GB"/>
          </a:p>
          <a:p>
            <a:pPr lvl="3"/>
            <a:r>
              <a:rPr lang="en-GB" err="1"/>
              <a:t>Vier</a:t>
            </a:r>
            <a:endParaRPr lang="en-GB"/>
          </a:p>
          <a:p>
            <a:pPr lvl="4"/>
            <a:r>
              <a:rPr lang="en-GB" err="1"/>
              <a:t>Fünf</a:t>
            </a:r>
            <a:endParaRPr lang="en-GB"/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3F26723E-8610-4C8B-98C6-BB6EC169D6E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 bwMode="gray">
          <a:xfrm>
            <a:off x="4511440" y="4149551"/>
            <a:ext cx="2880704" cy="1943274"/>
          </a:xfrm>
        </p:spPr>
        <p:txBody>
          <a:bodyPr>
            <a:noAutofit/>
          </a:bodyPr>
          <a:lstStyle>
            <a:lvl1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1pPr>
            <a:lvl2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2pPr>
            <a:lvl3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3pPr>
            <a:lvl4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4pPr>
            <a:lvl5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5pPr>
            <a:lvl6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6pPr>
            <a:lvl7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7pPr>
            <a:lvl8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8pPr>
            <a:lvl9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Description</a:t>
            </a:r>
          </a:p>
          <a:p>
            <a:pPr lvl="1"/>
            <a:r>
              <a:rPr lang="en-GB"/>
              <a:t>Zwei</a:t>
            </a:r>
          </a:p>
          <a:p>
            <a:pPr lvl="2"/>
            <a:r>
              <a:rPr lang="en-GB" err="1"/>
              <a:t>Drei</a:t>
            </a:r>
            <a:endParaRPr lang="en-GB"/>
          </a:p>
          <a:p>
            <a:pPr lvl="3"/>
            <a:r>
              <a:rPr lang="en-GB" err="1"/>
              <a:t>Vier</a:t>
            </a:r>
            <a:endParaRPr lang="en-GB"/>
          </a:p>
          <a:p>
            <a:pPr lvl="4"/>
            <a:r>
              <a:rPr lang="en-GB" err="1"/>
              <a:t>Fünf</a:t>
            </a:r>
            <a:endParaRPr lang="en-GB"/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14" name="Bildplatzhalter 7">
            <a:extLst>
              <a:ext uri="{FF2B5EF4-FFF2-40B4-BE49-F238E27FC236}">
                <a16:creationId xmlns:a16="http://schemas.microsoft.com/office/drawing/2014/main" id="{4B5C5BBF-B744-4DFC-9BFB-5EF6294BA08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8688048" y="2132856"/>
            <a:ext cx="1296000" cy="1296000"/>
          </a:xfrm>
          <a:prstGeom prst="rect">
            <a:avLst/>
          </a:prstGeom>
          <a:solidFill>
            <a:schemeClr val="bg2"/>
          </a:solidFill>
        </p:spPr>
        <p:txBody>
          <a:bodyPr bIns="828000" anchor="ctr">
            <a:normAutofit/>
          </a:bodyPr>
          <a:lstStyle>
            <a:lvl1pPr algn="ctr">
              <a:defRPr sz="1200"/>
            </a:lvl1pPr>
          </a:lstStyle>
          <a:p>
            <a:endParaRPr lang="de-DE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89355300-EC27-4CF3-8AC6-CB8691A4F21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 bwMode="gray">
          <a:xfrm>
            <a:off x="7895816" y="3645495"/>
            <a:ext cx="2880704" cy="431577"/>
          </a:xfrm>
        </p:spPr>
        <p:txBody>
          <a:bodyPr>
            <a:noAutofit/>
          </a:bodyPr>
          <a:lstStyle>
            <a:lvl1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1pPr>
            <a:lvl2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2pPr>
            <a:lvl3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3pPr>
            <a:lvl4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4pPr>
            <a:lvl5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5pPr>
            <a:lvl6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6pPr>
            <a:lvl7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7pPr>
            <a:lvl8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8pPr>
            <a:lvl9pPr marL="1588" indent="0" algn="ctr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9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Zwei</a:t>
            </a:r>
          </a:p>
          <a:p>
            <a:pPr lvl="2"/>
            <a:r>
              <a:rPr lang="en-GB" err="1"/>
              <a:t>Drei</a:t>
            </a:r>
            <a:endParaRPr lang="en-GB"/>
          </a:p>
          <a:p>
            <a:pPr lvl="3"/>
            <a:r>
              <a:rPr lang="en-GB" err="1"/>
              <a:t>Vier</a:t>
            </a:r>
            <a:endParaRPr lang="en-GB"/>
          </a:p>
          <a:p>
            <a:pPr lvl="4"/>
            <a:r>
              <a:rPr lang="en-GB" err="1"/>
              <a:t>Fünf</a:t>
            </a:r>
            <a:endParaRPr lang="en-GB"/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F20DC08D-25DD-45A6-9E57-CDAB35917868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 bwMode="gray">
          <a:xfrm>
            <a:off x="7895432" y="4149551"/>
            <a:ext cx="2880704" cy="1943274"/>
          </a:xfrm>
        </p:spPr>
        <p:txBody>
          <a:bodyPr>
            <a:noAutofit/>
          </a:bodyPr>
          <a:lstStyle>
            <a:lvl1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1pPr>
            <a:lvl2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2pPr>
            <a:lvl3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3pPr>
            <a:lvl4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4pPr>
            <a:lvl5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5pPr>
            <a:lvl6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6pPr>
            <a:lvl7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7pPr>
            <a:lvl8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8pPr>
            <a:lvl9pPr marL="1588" indent="0" algn="ct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Description</a:t>
            </a:r>
          </a:p>
          <a:p>
            <a:pPr lvl="1"/>
            <a:r>
              <a:rPr lang="en-GB"/>
              <a:t>Zwei</a:t>
            </a:r>
          </a:p>
          <a:p>
            <a:pPr lvl="2"/>
            <a:r>
              <a:rPr lang="en-GB" err="1"/>
              <a:t>Drei</a:t>
            </a:r>
            <a:endParaRPr lang="en-GB"/>
          </a:p>
          <a:p>
            <a:pPr lvl="3"/>
            <a:r>
              <a:rPr lang="en-GB" err="1"/>
              <a:t>Vier</a:t>
            </a:r>
            <a:endParaRPr lang="en-GB"/>
          </a:p>
          <a:p>
            <a:pPr lvl="4"/>
            <a:r>
              <a:rPr lang="en-GB" err="1"/>
              <a:t>Fünf</a:t>
            </a:r>
            <a:endParaRPr lang="en-GB"/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2507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197" userDrawn="1">
          <p15:clr>
            <a:srgbClr val="5ACBF0"/>
          </p15:clr>
        </p15:guide>
        <p15:guide id="2" orient="horz" pos="3838" userDrawn="1">
          <p15:clr>
            <a:srgbClr val="5ACBF0"/>
          </p15:clr>
        </p15:guide>
        <p15:guide id="3" pos="483" userDrawn="1">
          <p15:clr>
            <a:srgbClr val="5ACBF0"/>
          </p15:clr>
        </p15:guide>
        <p15:guide id="4" orient="horz" pos="1344" userDrawn="1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lipse 5">
            <a:extLst>
              <a:ext uri="{FF2B5EF4-FFF2-40B4-BE49-F238E27FC236}">
                <a16:creationId xmlns:a16="http://schemas.microsoft.com/office/drawing/2014/main" id="{4344ECAB-6795-42AC-81AF-730C050BC53C}"/>
              </a:ext>
            </a:extLst>
          </p:cNvPr>
          <p:cNvSpPr/>
          <p:nvPr userDrawn="1"/>
        </p:nvSpPr>
        <p:spPr bwMode="gray">
          <a:xfrm>
            <a:off x="191344" y="4077072"/>
            <a:ext cx="1800200" cy="1800200"/>
          </a:xfrm>
          <a:prstGeom prst="ellipse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solidFill>
                <a:schemeClr val="tx1"/>
              </a:solidFill>
            </a:endParaRPr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FB676B6F-04D0-40EE-B15D-9D67F151265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07368" y="1268760"/>
            <a:ext cx="4176000" cy="4176000"/>
          </a:xfrm>
          <a:prstGeom prst="ellipse">
            <a:avLst/>
          </a:prstGeom>
          <a:solidFill>
            <a:schemeClr val="bg2"/>
          </a:solidFill>
        </p:spPr>
        <p:txBody>
          <a:bodyPr bIns="828000" anchor="ctr">
            <a:normAutofit/>
          </a:bodyPr>
          <a:lstStyle>
            <a:lvl1pPr algn="ctr">
              <a:defRPr sz="1200"/>
            </a:lvl1pPr>
          </a:lstStyle>
          <a:p>
            <a:endParaRPr lang="de-DE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BDE4D700-4C7D-4F07-BB50-B5A3B33BF73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6235810" y="2204897"/>
            <a:ext cx="5189428" cy="288000"/>
          </a:xfrm>
        </p:spPr>
        <p:txBody>
          <a:bodyPr anchor="b" anchorCtr="0">
            <a:noAutofit/>
          </a:bodyPr>
          <a:lstStyle>
            <a:lvl1pPr marL="1588" indent="0" algn="l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1pPr>
            <a:lvl2pPr marL="1588" indent="0" algn="l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2pPr>
            <a:lvl3pPr marL="1588" indent="0" algn="l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3pPr>
            <a:lvl4pPr marL="1588" indent="0" algn="l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4pPr>
            <a:lvl5pPr marL="1588" indent="0" algn="l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5pPr>
            <a:lvl6pPr marL="1588" indent="0" algn="l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6pPr>
            <a:lvl7pPr marL="1588" indent="0" algn="l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7pPr>
            <a:lvl8pPr marL="1588" indent="0" algn="l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8pPr>
            <a:lvl9pPr marL="1588" indent="0" algn="l">
              <a:spcBef>
                <a:spcPts val="0"/>
              </a:spcBef>
              <a:buNone/>
              <a:defRPr sz="1800" i="1">
                <a:solidFill>
                  <a:schemeClr val="tx2"/>
                </a:solidFill>
                <a:latin typeface="Georgia" panose="02040502050405020303" pitchFamily="18" charset="0"/>
              </a:defRPr>
            </a:lvl9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Zwei</a:t>
            </a:r>
          </a:p>
          <a:p>
            <a:pPr lvl="2"/>
            <a:r>
              <a:rPr lang="en-GB" err="1"/>
              <a:t>Drei</a:t>
            </a:r>
            <a:endParaRPr lang="en-GB"/>
          </a:p>
          <a:p>
            <a:pPr lvl="3"/>
            <a:r>
              <a:rPr lang="en-GB" err="1"/>
              <a:t>Vier</a:t>
            </a:r>
            <a:endParaRPr lang="en-GB"/>
          </a:p>
          <a:p>
            <a:pPr lvl="4"/>
            <a:r>
              <a:rPr lang="en-GB" err="1"/>
              <a:t>Fünf</a:t>
            </a:r>
            <a:endParaRPr lang="en-GB"/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2B40361-DF1F-4E76-B293-9DC861C0A9FA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 bwMode="gray">
          <a:xfrm>
            <a:off x="6240376" y="2636912"/>
            <a:ext cx="5184862" cy="288000"/>
          </a:xfrm>
        </p:spPr>
        <p:txBody>
          <a:bodyPr>
            <a:noAutofit/>
          </a:bodyPr>
          <a:lstStyle>
            <a:lvl1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1pPr>
            <a:lvl2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2pPr>
            <a:lvl3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3pPr>
            <a:lvl4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4pPr>
            <a:lvl5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5pPr>
            <a:lvl6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6pPr>
            <a:lvl7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7pPr>
            <a:lvl8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8pPr>
            <a:lvl9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Position</a:t>
            </a:r>
          </a:p>
          <a:p>
            <a:pPr lvl="1"/>
            <a:r>
              <a:rPr lang="en-GB"/>
              <a:t>Zwei</a:t>
            </a:r>
          </a:p>
          <a:p>
            <a:pPr lvl="2"/>
            <a:r>
              <a:rPr lang="en-GB" err="1"/>
              <a:t>Drei</a:t>
            </a:r>
            <a:endParaRPr lang="en-GB"/>
          </a:p>
          <a:p>
            <a:pPr lvl="3"/>
            <a:r>
              <a:rPr lang="en-GB" err="1"/>
              <a:t>Vier</a:t>
            </a:r>
            <a:endParaRPr lang="en-GB"/>
          </a:p>
          <a:p>
            <a:pPr lvl="4"/>
            <a:r>
              <a:rPr lang="en-GB" err="1"/>
              <a:t>Fünf</a:t>
            </a:r>
            <a:endParaRPr lang="en-GB"/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D2AB3001-CF7C-4AD0-A2FD-ED5030B12A45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 bwMode="gray">
          <a:xfrm>
            <a:off x="6240392" y="3426036"/>
            <a:ext cx="5184846" cy="288000"/>
          </a:xfrm>
        </p:spPr>
        <p:txBody>
          <a:bodyPr anchor="b" anchorCtr="0">
            <a:noAutofit/>
          </a:bodyPr>
          <a:lstStyle>
            <a:lvl1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1pPr>
            <a:lvl2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2pPr>
            <a:lvl3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3pPr>
            <a:lvl4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4pPr>
            <a:lvl5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5pPr>
            <a:lvl6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6pPr>
            <a:lvl7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7pPr>
            <a:lvl8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8pPr>
            <a:lvl9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Website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EF467E02-2251-4295-A4D3-7A8DC1007C51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 bwMode="gray">
          <a:xfrm>
            <a:off x="6240392" y="4073922"/>
            <a:ext cx="5184846" cy="288000"/>
          </a:xfrm>
        </p:spPr>
        <p:txBody>
          <a:bodyPr anchor="b" anchorCtr="0">
            <a:noAutofit/>
          </a:bodyPr>
          <a:lstStyle>
            <a:lvl1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1pPr>
            <a:lvl2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2pPr>
            <a:lvl3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3pPr>
            <a:lvl4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4pPr>
            <a:lvl5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5pPr>
            <a:lvl6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6pPr>
            <a:lvl7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7pPr>
            <a:lvl8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8pPr>
            <a:lvl9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Phone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6177655-1B1A-483B-98BB-8567B90BA8C4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 bwMode="gray">
          <a:xfrm>
            <a:off x="6240392" y="4728059"/>
            <a:ext cx="5184846" cy="288000"/>
          </a:xfrm>
        </p:spPr>
        <p:txBody>
          <a:bodyPr anchor="b" anchorCtr="0">
            <a:noAutofit/>
          </a:bodyPr>
          <a:lstStyle>
            <a:lvl1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1pPr>
            <a:lvl2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2pPr>
            <a:lvl3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3pPr>
            <a:lvl4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4pPr>
            <a:lvl5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5pPr>
            <a:lvl6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6pPr>
            <a:lvl7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7pPr>
            <a:lvl8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8pPr>
            <a:lvl9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Mail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A3DC7D85-2057-447E-9104-BCB7AA01521D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 bwMode="gray">
          <a:xfrm>
            <a:off x="6240392" y="5297761"/>
            <a:ext cx="5184846" cy="288000"/>
          </a:xfrm>
        </p:spPr>
        <p:txBody>
          <a:bodyPr anchor="b" anchorCtr="0">
            <a:noAutofit/>
          </a:bodyPr>
          <a:lstStyle>
            <a:lvl1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1pPr>
            <a:lvl2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2pPr>
            <a:lvl3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3pPr>
            <a:lvl4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4pPr>
            <a:lvl5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5pPr>
            <a:lvl6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6pPr>
            <a:lvl7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7pPr>
            <a:lvl8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8pPr>
            <a:lvl9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Twitter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63810E8-7A7E-4094-BDDD-0E7D8BA5E68F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 bwMode="gray">
          <a:xfrm>
            <a:off x="6240392" y="5805296"/>
            <a:ext cx="5184846" cy="288000"/>
          </a:xfrm>
        </p:spPr>
        <p:txBody>
          <a:bodyPr anchor="b" anchorCtr="0">
            <a:noAutofit/>
          </a:bodyPr>
          <a:lstStyle>
            <a:lvl1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1pPr>
            <a:lvl2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2pPr>
            <a:lvl3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3pPr>
            <a:lvl4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4pPr>
            <a:lvl5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5pPr>
            <a:lvl6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6pPr>
            <a:lvl7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7pPr>
            <a:lvl8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8pPr>
            <a:lvl9pPr marL="1588" indent="0" algn="l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LinkedI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FC38972E-5CAA-46B3-A7F5-ECAAF8C54813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 bwMode="gray">
          <a:xfrm>
            <a:off x="5663952" y="3356992"/>
            <a:ext cx="432000" cy="43200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1pPr>
            <a:lvl2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2pPr>
            <a:lvl3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3pPr>
            <a:lvl4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4pPr>
            <a:lvl5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5pPr>
            <a:lvl6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6pPr>
            <a:lvl7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7pPr>
            <a:lvl8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8pPr>
            <a:lvl9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1301495F-1C26-4AA4-A1CB-8F11E63CD66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 bwMode="gray">
          <a:xfrm>
            <a:off x="5663952" y="4005579"/>
            <a:ext cx="432000" cy="432000"/>
          </a:xfrm>
          <a:blipFill>
            <a:blip r:embed="rId3"/>
            <a:stretch>
              <a:fillRect/>
            </a:stretch>
          </a:blipFill>
        </p:spPr>
        <p:txBody>
          <a:bodyPr>
            <a:noAutofit/>
          </a:bodyPr>
          <a:lstStyle>
            <a:lvl1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1pPr>
            <a:lvl2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2pPr>
            <a:lvl3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3pPr>
            <a:lvl4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4pPr>
            <a:lvl5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5pPr>
            <a:lvl6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6pPr>
            <a:lvl7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7pPr>
            <a:lvl8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8pPr>
            <a:lvl9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5B50E680-4EE7-46FC-9905-CA02061BCBEE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 bwMode="gray">
          <a:xfrm>
            <a:off x="5663952" y="4658435"/>
            <a:ext cx="432000" cy="432000"/>
          </a:xfrm>
          <a:blipFill>
            <a:blip r:embed="rId4"/>
            <a:stretch>
              <a:fillRect/>
            </a:stretch>
          </a:blipFill>
        </p:spPr>
        <p:txBody>
          <a:bodyPr>
            <a:noAutofit/>
          </a:bodyPr>
          <a:lstStyle>
            <a:lvl1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1pPr>
            <a:lvl2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2pPr>
            <a:lvl3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3pPr>
            <a:lvl4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4pPr>
            <a:lvl5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5pPr>
            <a:lvl6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6pPr>
            <a:lvl7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7pPr>
            <a:lvl8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8pPr>
            <a:lvl9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1245ADEE-07B5-4286-9CBF-DA6876257E53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 bwMode="gray">
          <a:xfrm>
            <a:off x="5735904" y="5297761"/>
            <a:ext cx="288000" cy="288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1pPr>
            <a:lvl2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2pPr>
            <a:lvl3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3pPr>
            <a:lvl4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4pPr>
            <a:lvl5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5pPr>
            <a:lvl6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6pPr>
            <a:lvl7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7pPr>
            <a:lvl8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8pPr>
            <a:lvl9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87064731-069F-4E8F-92FA-2790443A32E5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 bwMode="gray">
          <a:xfrm>
            <a:off x="5735904" y="5810992"/>
            <a:ext cx="288000" cy="2880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1pPr>
            <a:lvl2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2pPr>
            <a:lvl3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3pPr>
            <a:lvl4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4pPr>
            <a:lvl5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5pPr>
            <a:lvl6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6pPr>
            <a:lvl7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7pPr>
            <a:lvl8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8pPr>
            <a:lvl9pPr marL="1588" indent="0" algn="l">
              <a:spcBef>
                <a:spcPts val="0"/>
              </a:spcBef>
              <a:buNone/>
              <a:defRPr sz="1800" i="0">
                <a:solidFill>
                  <a:schemeClr val="tx1">
                    <a:alpha val="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59522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3" userDrawn="1">
          <p15:clr>
            <a:srgbClr val="5ACBF0"/>
          </p15:clr>
        </p15:guide>
        <p15:guide id="2" pos="7197" userDrawn="1">
          <p15:clr>
            <a:srgbClr val="5ACBF0"/>
          </p15:clr>
        </p15:guide>
        <p15:guide id="3" orient="horz" pos="3838" userDrawn="1">
          <p15:clr>
            <a:srgbClr val="5ACBF0"/>
          </p15:clr>
        </p15:guide>
        <p15:guide id="5" pos="3931" userDrawn="1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|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FF6C3A47-D24D-437C-8C58-6578B753805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bIns="828000" anchor="ctr">
            <a:normAutofit/>
          </a:bodyPr>
          <a:lstStyle>
            <a:lvl1pPr algn="ctr">
              <a:defRPr sz="1200"/>
            </a:lvl1pPr>
          </a:lstStyle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2B800B8-C9F6-4309-AA35-4FE3E027486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0" y="4293096"/>
            <a:ext cx="7967453" cy="990217"/>
          </a:xfrm>
          <a:solidFill>
            <a:schemeClr val="tx2"/>
          </a:solidFill>
        </p:spPr>
        <p:txBody>
          <a:bodyPr wrap="none" lIns="756000" tIns="144000" rIns="144000" bIns="288000" anchor="t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ECD1BD2-75F4-438E-8FD4-90F4AA8F7F1E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 bwMode="gray">
          <a:xfrm>
            <a:off x="8760592" y="764704"/>
            <a:ext cx="2664000" cy="78628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solidFill>
              <a:schemeClr val="tx2">
                <a:alpha val="0"/>
              </a:schemeClr>
            </a:solidFill>
          </a:ln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3A9AEAA-16C3-41C3-A7B7-1098994EE40E}"/>
              </a:ext>
            </a:extLst>
          </p:cNvPr>
          <p:cNvSpPr/>
          <p:nvPr userDrawn="1"/>
        </p:nvSpPr>
        <p:spPr bwMode="gray">
          <a:xfrm>
            <a:off x="767408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4DBD4BB-292B-4760-BF40-DA8D56FA3AE2}"/>
              </a:ext>
            </a:extLst>
          </p:cNvPr>
          <p:cNvSpPr/>
          <p:nvPr userDrawn="1"/>
        </p:nvSpPr>
        <p:spPr bwMode="gray">
          <a:xfrm>
            <a:off x="2134960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C5BAC43-B9EA-41CE-BA8E-88265BBED7D3}"/>
              </a:ext>
            </a:extLst>
          </p:cNvPr>
          <p:cNvSpPr/>
          <p:nvPr userDrawn="1"/>
        </p:nvSpPr>
        <p:spPr bwMode="gray">
          <a:xfrm>
            <a:off x="3503232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15B8B3A-A4F0-4607-BBAE-C29903ACEC5B}"/>
              </a:ext>
            </a:extLst>
          </p:cNvPr>
          <p:cNvSpPr/>
          <p:nvPr userDrawn="1"/>
        </p:nvSpPr>
        <p:spPr bwMode="gray">
          <a:xfrm>
            <a:off x="4871504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51682A4-D503-4705-BEFD-A76B237EE00B}"/>
              </a:ext>
            </a:extLst>
          </p:cNvPr>
          <p:cNvSpPr/>
          <p:nvPr userDrawn="1"/>
        </p:nvSpPr>
        <p:spPr bwMode="gray">
          <a:xfrm>
            <a:off x="6239776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B701514-3F93-4B11-A17D-7C51BA025700}"/>
              </a:ext>
            </a:extLst>
          </p:cNvPr>
          <p:cNvSpPr/>
          <p:nvPr userDrawn="1"/>
        </p:nvSpPr>
        <p:spPr bwMode="gray">
          <a:xfrm>
            <a:off x="7608048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A0A138B-49BC-49A3-8D90-059C30468FDB}"/>
              </a:ext>
            </a:extLst>
          </p:cNvPr>
          <p:cNvSpPr/>
          <p:nvPr userDrawn="1"/>
        </p:nvSpPr>
        <p:spPr bwMode="gray">
          <a:xfrm>
            <a:off x="8976320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B5AA852F-80E1-4C3A-8BCD-E30CE5D37D70}"/>
              </a:ext>
            </a:extLst>
          </p:cNvPr>
          <p:cNvSpPr/>
          <p:nvPr userDrawn="1"/>
        </p:nvSpPr>
        <p:spPr bwMode="gray">
          <a:xfrm>
            <a:off x="10344592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63F43E0-0B72-4420-8EE0-463163215CED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766762" y="5040178"/>
            <a:ext cx="5082317" cy="660144"/>
          </a:xfrm>
          <a:solidFill>
            <a:schemeClr val="bg1"/>
          </a:solidFill>
        </p:spPr>
        <p:txBody>
          <a:bodyPr wrap="none" lIns="144000" tIns="144000" rIns="144000" bIns="144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2400" i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None/>
              <a:defRPr sz="2400" i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2400" i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2400" i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2400" i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2400" i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2400" i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2400" i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2400" i="0">
                <a:solidFill>
                  <a:schemeClr val="tx1"/>
                </a:solidFill>
                <a:latin typeface="+mj-lt"/>
              </a:defRPr>
            </a:lvl9pPr>
          </a:lstStyle>
          <a:p>
            <a:r>
              <a:rPr lang="en-GB"/>
              <a:t>Master-</a:t>
            </a:r>
            <a:r>
              <a:rPr lang="en-GB" err="1"/>
              <a:t>Un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686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3" userDrawn="1">
          <p15:clr>
            <a:srgbClr val="5ACBF0"/>
          </p15:clr>
        </p15:guide>
        <p15:guide id="2" pos="7197" userDrawn="1">
          <p15:clr>
            <a:srgbClr val="5ACBF0"/>
          </p15:clr>
        </p15:guide>
        <p15:guide id="3" orient="horz" pos="3838" userDrawn="1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5" y="2165350"/>
            <a:ext cx="5148245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0030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7AE868-13D3-4D28-A8E4-F635F770F6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7438" y="2168525"/>
            <a:ext cx="5184775" cy="36004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t>IDSA Winterdays – Trust all the Way</a:t>
            </a: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6875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5" y="2165350"/>
            <a:ext cx="10512407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48701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393" y="1273923"/>
            <a:ext cx="10512407" cy="4888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53347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5" y="2165350"/>
            <a:ext cx="5148245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7AE868-13D3-4D28-A8E4-F635F770F6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7438" y="2168525"/>
            <a:ext cx="5184775" cy="36004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83871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4" y="2165350"/>
            <a:ext cx="6480000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BADABE6-3453-400C-A405-40E92F11ED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16195" y="2165349"/>
            <a:ext cx="3636000" cy="3603625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59012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E80C4A-E133-4D33-A918-188A03B20D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8AF9B4-D53B-48CC-B719-350DF8315F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32662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+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DF379BB-6F1E-48A1-82A2-A4C682BB95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88" y="1624013"/>
            <a:ext cx="10514012" cy="41449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4966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0462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öp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2FC641E1-B8E3-413B-904A-2440DD1ED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810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2E1FDC18-783E-41B0-A0D2-168EE16F3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9B581941-4DFC-434A-86AA-4C1552688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24641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DB581137-3902-47A4-B44D-30D80149B4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26213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A208E58-4EC9-4B06-A80F-E2943394BD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27785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19039486-E685-4E1E-90DD-040C8A5525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0599" y="4942047"/>
            <a:ext cx="3036047" cy="956736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AE1C2790-44C2-4FE8-ABB1-D94E61B6F7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7976" y="4943791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56DAC46A-A81D-4BF6-853B-46D6CBA80C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467" y="4942047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9A11213-6B94-4070-B425-F3D4934CE78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42854" y="2647950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45B65062-1C74-4975-AB11-DD0AD47E1D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423504" y="2647950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4" name="Bildplatzhalter 6">
            <a:extLst>
              <a:ext uri="{FF2B5EF4-FFF2-40B4-BE49-F238E27FC236}">
                <a16:creationId xmlns:a16="http://schemas.microsoft.com/office/drawing/2014/main" id="{B8892F41-2115-496D-8249-7B6E9DA4EB7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45995" y="2647950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52475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3A081B37-E57B-48A2-AC9E-4C379D3B89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692" y="2494278"/>
            <a:ext cx="1044000" cy="1044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297B832-0F11-4184-8F58-81CF859E33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42643" y="1363878"/>
            <a:ext cx="1044000" cy="1044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58F55ED-DB6A-479A-B682-3AB85F09F6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74062" y="2494278"/>
            <a:ext cx="1044000" cy="1044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38F46AA-D2E1-4A9E-A65E-BF6590DA664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97867" y="1363878"/>
            <a:ext cx="1044000" cy="1044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EFAFAC9-23DC-43C2-9ADB-F76F4CE706E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23275" y="4940401"/>
            <a:ext cx="1044000" cy="1044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F36B00A-61CE-4138-B78D-643C3EE90EA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39297" y="3809901"/>
            <a:ext cx="1044000" cy="1044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6F6A55E-7A12-4A71-BB5D-BF0E01662F43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745033" y="4940401"/>
            <a:ext cx="1044000" cy="1044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CFACE34-BF9F-4E6D-9561-D540D2CF7D3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741438" y="3809901"/>
            <a:ext cx="1044000" cy="1044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413FF27-BA52-4273-A50A-F4100BB7D01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8285" y="2494278"/>
            <a:ext cx="1044000" cy="1044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3E35579-64AF-4682-AC8C-8FE30B29E3C7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09600" y="1363878"/>
            <a:ext cx="1044000" cy="1044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BAF70398-B919-4639-9C97-1ED35EDC7B8F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4896520" y="2494278"/>
            <a:ext cx="1044000" cy="1044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B424053-AFD7-4E94-BDBE-483630C81136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896520" y="1363878"/>
            <a:ext cx="1044000" cy="1044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03F1A61-6359-4273-B302-E846FF9B6314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107331" y="2494278"/>
            <a:ext cx="1044000" cy="1044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244A3B7D-14F6-4273-9FA2-ABD4F1E05843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8081504" y="1363878"/>
            <a:ext cx="1044000" cy="1044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22A49A86-9DE1-432A-9A12-E5E664D46A62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712464" y="2494278"/>
            <a:ext cx="1044000" cy="1044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B3ED136C-AFF3-4DE4-B377-1E83FC24B590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741438" y="1363878"/>
            <a:ext cx="1044000" cy="1044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5C6AD4FD-9D36-4DF8-A9BC-E107A62A8260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886881" y="4940401"/>
            <a:ext cx="1044000" cy="1044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9573D5A-5CE8-4ABA-8B10-DFC508FC9C30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811066" y="3809901"/>
            <a:ext cx="1044000" cy="1044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22D77ED-D0EC-480B-8F58-275A5C25D6DB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828450" y="2494278"/>
            <a:ext cx="1044000" cy="10440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6489A5EA-9CCC-4A15-A410-B2026DF0F238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3823546" y="1363878"/>
            <a:ext cx="1044000" cy="10440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DAA6DEA-6635-4248-AF8E-D44D50D7F16B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930881" y="4940401"/>
            <a:ext cx="1044000" cy="1044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AD1B1F4-9400-4057-84EE-557904E5B1A1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4879275" y="3809901"/>
            <a:ext cx="1044000" cy="10440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52C8BE19-2849-4FD4-A169-E1063DB50417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671810" y="3809901"/>
            <a:ext cx="1044000" cy="104400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4AA2F212-9470-496A-87E2-55B8A58EF4FA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678516" y="4940401"/>
            <a:ext cx="1044000" cy="104400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52F79728-FF7D-4B50-9478-536B0CB38F10}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609600" y="3809901"/>
            <a:ext cx="1044000" cy="10440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86CC9833-B63D-4885-89AF-0999C90FF18E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609600" y="4940401"/>
            <a:ext cx="1044000" cy="104400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35E9ECD9-E10E-4CBA-BF52-4670D794D592}"/>
              </a:ext>
            </a:extLst>
          </p:cNvPr>
          <p:cNvPicPr>
            <a:picLocks noChangeAspect="1"/>
          </p:cNvPicPr>
          <p:nvPr userDrawn="1"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8120863" y="3809901"/>
            <a:ext cx="1044000" cy="1044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AE32466E-9C49-47B3-AFAC-9704D0A86BEA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8174448" y="4940401"/>
            <a:ext cx="1044000" cy="1044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D1F1DB1D-D9AE-4D6B-8727-B6E25271C409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9230062" y="4940301"/>
            <a:ext cx="1044000" cy="1044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6FA8DC32-CC3B-41D8-BD42-0BD97DA6806F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9207329" y="3809901"/>
            <a:ext cx="1044000" cy="1044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9E30971E-6883-445B-883D-0CA8B2DA11F8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7024584" y="4940401"/>
            <a:ext cx="1044000" cy="10440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D621922B-D161-4786-8E9A-219FB2CC39E6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7030880" y="3809901"/>
            <a:ext cx="1044000" cy="10440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E0DDB2FD-F90D-41D7-B681-54C600089E09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668464" y="2494278"/>
            <a:ext cx="1044000" cy="10440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844CBE15-A36E-4639-872B-E2DD409D85E5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674513" y="1363878"/>
            <a:ext cx="1044000" cy="10440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12808483-DB95-4D93-A059-578112FE1EA6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7024584" y="1363878"/>
            <a:ext cx="1044000" cy="1044000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4F20F2D2-CEF1-4AF3-91EF-17308C8D6DE9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7002490" y="2494278"/>
            <a:ext cx="1044000" cy="1044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79B1C5B4-72F4-4F4C-89A5-843A94CB6958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5963445" y="1363878"/>
            <a:ext cx="1044000" cy="104400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F6C36229-30EB-405E-8BC0-F70774E67A6A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5923275" y="2494278"/>
            <a:ext cx="1044000" cy="10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9792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B800B8-C9F6-4309-AA35-4FE3E027486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503712" y="2636936"/>
            <a:ext cx="5760000" cy="1656000"/>
          </a:xfrm>
          <a:noFill/>
        </p:spPr>
        <p:txBody>
          <a:bodyPr lIns="0"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63F43E0-0B72-4420-8EE0-463163215CED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503712" y="4509224"/>
            <a:ext cx="5760640" cy="936000"/>
          </a:xfrm>
          <a:noFill/>
        </p:spPr>
        <p:txBody>
          <a:bodyPr lIns="0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2400" i="1">
                <a:solidFill>
                  <a:schemeClr val="tx2"/>
                </a:solidFill>
                <a:latin typeface="Georgia" panose="02040502050405020303" pitchFamily="18" charset="0"/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160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160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160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160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160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160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spcBef>
                <a:spcPts val="600"/>
              </a:spcBef>
              <a:spcAft>
                <a:spcPts val="0"/>
              </a:spcAft>
              <a:buNone/>
              <a:defRPr sz="160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160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Master-Untertitelformat bearbeiten</a:t>
            </a:r>
          </a:p>
          <a:p>
            <a:pPr lvl="1"/>
            <a:r>
              <a:rPr lang="de-DE"/>
              <a:t>Zwei</a:t>
            </a:r>
          </a:p>
          <a:p>
            <a:pPr lvl="2"/>
            <a:r>
              <a:rPr lang="de-DE"/>
              <a:t>Drei</a:t>
            </a:r>
          </a:p>
          <a:p>
            <a:pPr lvl="3"/>
            <a:r>
              <a:rPr lang="de-DE"/>
              <a:t>Vier</a:t>
            </a:r>
          </a:p>
          <a:p>
            <a:pPr lvl="4"/>
            <a:r>
              <a:rPr lang="de-DE"/>
              <a:t>Fünf</a:t>
            </a:r>
          </a:p>
          <a:p>
            <a:pPr lvl="5"/>
            <a:r>
              <a:rPr lang="de-DE"/>
              <a:t>Sechs</a:t>
            </a:r>
          </a:p>
          <a:p>
            <a:pPr lvl="6"/>
            <a:r>
              <a:rPr lang="de-DE"/>
              <a:t>Sieben</a:t>
            </a:r>
          </a:p>
          <a:p>
            <a:pPr lvl="7"/>
            <a:r>
              <a:rPr lang="de-DE"/>
              <a:t>Acht</a:t>
            </a:r>
          </a:p>
          <a:p>
            <a:pPr lvl="8"/>
            <a:r>
              <a:rPr lang="de-DE"/>
              <a:t>Neu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BA4B856-0844-4A5E-AE41-CE0BBB42EF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8760592" y="764704"/>
            <a:ext cx="2664000" cy="782883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4532A055-5BA4-4403-A366-228B9C50D371}"/>
              </a:ext>
            </a:extLst>
          </p:cNvPr>
          <p:cNvSpPr/>
          <p:nvPr userDrawn="1"/>
        </p:nvSpPr>
        <p:spPr bwMode="gray">
          <a:xfrm>
            <a:off x="767408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6C1647F-2191-4247-81E8-9C228A0E5BB9}"/>
              </a:ext>
            </a:extLst>
          </p:cNvPr>
          <p:cNvSpPr/>
          <p:nvPr userDrawn="1"/>
        </p:nvSpPr>
        <p:spPr bwMode="gray">
          <a:xfrm>
            <a:off x="2134960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536DB5C-2D83-44B8-BE71-939DCF11D466}"/>
              </a:ext>
            </a:extLst>
          </p:cNvPr>
          <p:cNvSpPr/>
          <p:nvPr userDrawn="1"/>
        </p:nvSpPr>
        <p:spPr bwMode="gray">
          <a:xfrm>
            <a:off x="3503232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A59BA87-989B-4212-A385-88F9BBFFEE35}"/>
              </a:ext>
            </a:extLst>
          </p:cNvPr>
          <p:cNvSpPr/>
          <p:nvPr userDrawn="1"/>
        </p:nvSpPr>
        <p:spPr bwMode="gray">
          <a:xfrm>
            <a:off x="4871504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29FE805F-F04F-4C6C-8274-AAEFCB77EBC3}"/>
              </a:ext>
            </a:extLst>
          </p:cNvPr>
          <p:cNvSpPr/>
          <p:nvPr userDrawn="1"/>
        </p:nvSpPr>
        <p:spPr bwMode="gray">
          <a:xfrm>
            <a:off x="6239776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ACC9F7F-296D-4E68-BDF7-A6F7563550B2}"/>
              </a:ext>
            </a:extLst>
          </p:cNvPr>
          <p:cNvSpPr/>
          <p:nvPr userDrawn="1"/>
        </p:nvSpPr>
        <p:spPr bwMode="gray">
          <a:xfrm>
            <a:off x="7608048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377451F-5027-4D1C-AB4F-0DB789E7728E}"/>
              </a:ext>
            </a:extLst>
          </p:cNvPr>
          <p:cNvSpPr/>
          <p:nvPr userDrawn="1"/>
        </p:nvSpPr>
        <p:spPr bwMode="gray">
          <a:xfrm>
            <a:off x="8976320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7CC8560-2321-46A0-98B8-3FADB7193A7A}"/>
              </a:ext>
            </a:extLst>
          </p:cNvPr>
          <p:cNvSpPr/>
          <p:nvPr userDrawn="1"/>
        </p:nvSpPr>
        <p:spPr bwMode="gray">
          <a:xfrm>
            <a:off x="10344592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228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ild 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9762067" y="0"/>
            <a:ext cx="2032000" cy="11345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prstClr val="white"/>
              </a:solidFill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>
            <a:off x="0" y="-1708441"/>
            <a:ext cx="12192000" cy="1364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>
                <a:solidFill>
                  <a:prstClr val="black"/>
                </a:solidFill>
                <a:latin typeface="Georgia"/>
                <a:cs typeface="Georgia"/>
              </a:rPr>
              <a:t>Formatfüllendes Bild als Folien-Hintergrund einfügen:</a:t>
            </a:r>
          </a:p>
          <a:p>
            <a:pPr algn="ctr"/>
            <a:endParaRPr lang="de-DE" sz="1067" b="1">
              <a:solidFill>
                <a:prstClr val="black"/>
              </a:solidFill>
              <a:latin typeface="Georgia"/>
              <a:cs typeface="Georgia"/>
            </a:endParaRPr>
          </a:p>
          <a:p>
            <a:pPr algn="ctr">
              <a:defRPr/>
            </a:pPr>
            <a:r>
              <a:rPr lang="de-DE" sz="2400">
                <a:solidFill>
                  <a:prstClr val="black"/>
                </a:solidFill>
                <a:latin typeface="Georgia"/>
                <a:cs typeface="Georgia"/>
              </a:rPr>
              <a:t>Rechtsklick auf Folie &gt; Hintergrund formatieren &gt; Bild o. Struktur &gt; Bild auswählen</a:t>
            </a:r>
          </a:p>
          <a:p>
            <a:pPr algn="ctr"/>
            <a:r>
              <a:rPr lang="de-DE" sz="2400" i="1">
                <a:solidFill>
                  <a:prstClr val="black"/>
                </a:solidFill>
                <a:latin typeface="Georgia"/>
                <a:cs typeface="Georgia"/>
              </a:rPr>
              <a:t>Die Bilder müsse ein Seitenverhältnis von 16:9 haben!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2538" y="123384"/>
            <a:ext cx="2176969" cy="791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901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slide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624000" y="811200"/>
            <a:ext cx="10634379" cy="7924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33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3733" b="1" i="0"/>
            </a:lvl2pPr>
            <a:lvl3pPr>
              <a:defRPr sz="3733" b="1" i="0"/>
            </a:lvl3pPr>
            <a:lvl4pPr>
              <a:defRPr sz="3733" b="1" i="0"/>
            </a:lvl4pPr>
            <a:lvl5pPr>
              <a:defRPr sz="3733" b="1" i="0"/>
            </a:lvl5pPr>
          </a:lstStyle>
          <a:p>
            <a:pPr lvl="0"/>
            <a:r>
              <a:rPr lang="nl-NL"/>
              <a:t>Titel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7" y="1430401"/>
            <a:ext cx="9941983" cy="5705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33" b="1" i="0">
                <a:solidFill>
                  <a:schemeClr val="accent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609585" indent="0">
              <a:buNone/>
              <a:defRPr sz="2933" b="1" i="0">
                <a:latin typeface="Calibri" charset="0"/>
                <a:ea typeface="Calibri" charset="0"/>
                <a:cs typeface="Calibri" charset="0"/>
              </a:defRPr>
            </a:lvl2pPr>
            <a:lvl3pPr marL="1219170" indent="0">
              <a:buNone/>
              <a:defRPr sz="2933" b="1" i="0">
                <a:latin typeface="Calibri" charset="0"/>
                <a:ea typeface="Calibri" charset="0"/>
                <a:cs typeface="Calibri" charset="0"/>
              </a:defRPr>
            </a:lvl3pPr>
            <a:lvl4pPr marL="1828754" indent="0">
              <a:buNone/>
              <a:defRPr sz="2933" b="1" i="0">
                <a:latin typeface="Calibri" charset="0"/>
                <a:ea typeface="Calibri" charset="0"/>
                <a:cs typeface="Calibri" charset="0"/>
              </a:defRPr>
            </a:lvl4pPr>
            <a:lvl5pPr marL="2438339" indent="0">
              <a:buNone/>
              <a:defRPr sz="2933" b="1" i="0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nl-NL"/>
              <a:t>Subtitel</a:t>
            </a:r>
          </a:p>
        </p:txBody>
      </p:sp>
      <p:sp>
        <p:nvSpPr>
          <p:cNvPr id="11" name="Tijdelijke aanduiding voor tekst 10"/>
          <p:cNvSpPr>
            <a:spLocks noGrp="1"/>
          </p:cNvSpPr>
          <p:nvPr>
            <p:ph type="body" sz="quarter" idx="12" hasCustomPrompt="1"/>
          </p:nvPr>
        </p:nvSpPr>
        <p:spPr>
          <a:xfrm>
            <a:off x="624000" y="2246400"/>
            <a:ext cx="10456563" cy="12192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200"/>
              </a:lnSpc>
              <a:spcBef>
                <a:spcPts val="0"/>
              </a:spcBef>
              <a:buNone/>
              <a:defRPr sz="2400">
                <a:latin typeface="Calibri" charset="0"/>
                <a:ea typeface="Calibri" charset="0"/>
                <a:cs typeface="Calibri" charset="0"/>
              </a:defRPr>
            </a:lvl1pPr>
            <a:lvl2pPr>
              <a:defRPr sz="2400">
                <a:latin typeface="Calibri" charset="0"/>
                <a:ea typeface="Calibri" charset="0"/>
                <a:cs typeface="Calibri" charset="0"/>
              </a:defRPr>
            </a:lvl2pPr>
            <a:lvl3pPr>
              <a:defRPr sz="2400">
                <a:latin typeface="Calibri" charset="0"/>
                <a:ea typeface="Calibri" charset="0"/>
                <a:cs typeface="Calibri" charset="0"/>
              </a:defRPr>
            </a:lvl3pPr>
            <a:lvl4pPr>
              <a:defRPr sz="2400">
                <a:latin typeface="Calibri" charset="0"/>
                <a:ea typeface="Calibri" charset="0"/>
                <a:cs typeface="Calibri" charset="0"/>
              </a:defRPr>
            </a:lvl4pPr>
            <a:lvl5pPr>
              <a:defRPr sz="2400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nl-NL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11642168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slide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afbeelding 13"/>
          <p:cNvSpPr>
            <a:spLocks noGrp="1"/>
          </p:cNvSpPr>
          <p:nvPr>
            <p:ph type="pic" sz="quarter" idx="10"/>
          </p:nvPr>
        </p:nvSpPr>
        <p:spPr>
          <a:xfrm>
            <a:off x="6123517" y="-10584"/>
            <a:ext cx="6068484" cy="6904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Calibri" charset="0"/>
                <a:ea typeface="Calibri" charset="0"/>
                <a:cs typeface="Calibri" charset="0"/>
              </a:defRPr>
            </a:lvl1pPr>
          </a:lstStyle>
          <a:p>
            <a:endParaRPr lang="nl-NL"/>
          </a:p>
        </p:txBody>
      </p:sp>
      <p:sp>
        <p:nvSpPr>
          <p:cNvPr id="6" name="Tijdelijke aanduiding voor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624002" y="811200"/>
            <a:ext cx="4823957" cy="7924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33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3733" b="1" i="0"/>
            </a:lvl2pPr>
            <a:lvl3pPr>
              <a:defRPr sz="3733" b="1" i="0"/>
            </a:lvl3pPr>
            <a:lvl4pPr>
              <a:defRPr sz="3733" b="1" i="0"/>
            </a:lvl4pPr>
            <a:lvl5pPr>
              <a:defRPr sz="3733" b="1" i="0"/>
            </a:lvl5pPr>
          </a:lstStyle>
          <a:p>
            <a:pPr lvl="0"/>
            <a:r>
              <a:rPr lang="nl-NL"/>
              <a:t>Titel</a:t>
            </a:r>
          </a:p>
        </p:txBody>
      </p:sp>
      <p:sp>
        <p:nvSpPr>
          <p:cNvPr id="10" name="Tijdelijke aanduiding voor tekst 3"/>
          <p:cNvSpPr>
            <a:spLocks noGrp="1"/>
          </p:cNvSpPr>
          <p:nvPr>
            <p:ph type="body" sz="quarter" idx="12" hasCustomPrompt="1"/>
          </p:nvPr>
        </p:nvSpPr>
        <p:spPr>
          <a:xfrm>
            <a:off x="624417" y="1430401"/>
            <a:ext cx="4823543" cy="5705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33" b="1" i="0">
                <a:solidFill>
                  <a:schemeClr val="accent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609585" indent="0">
              <a:buNone/>
              <a:defRPr sz="2933" b="1" i="0">
                <a:latin typeface="Calibri" charset="0"/>
                <a:ea typeface="Calibri" charset="0"/>
                <a:cs typeface="Calibri" charset="0"/>
              </a:defRPr>
            </a:lvl2pPr>
            <a:lvl3pPr marL="1219170" indent="0">
              <a:buNone/>
              <a:defRPr sz="2933" b="1" i="0">
                <a:latin typeface="Calibri" charset="0"/>
                <a:ea typeface="Calibri" charset="0"/>
                <a:cs typeface="Calibri" charset="0"/>
              </a:defRPr>
            </a:lvl3pPr>
            <a:lvl4pPr marL="1828754" indent="0">
              <a:buNone/>
              <a:defRPr sz="2933" b="1" i="0">
                <a:latin typeface="Calibri" charset="0"/>
                <a:ea typeface="Calibri" charset="0"/>
                <a:cs typeface="Calibri" charset="0"/>
              </a:defRPr>
            </a:lvl4pPr>
            <a:lvl5pPr marL="2438339" indent="0">
              <a:buNone/>
              <a:defRPr sz="2933" b="1" i="0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nl-NL"/>
              <a:t>Subtitel</a:t>
            </a:r>
          </a:p>
        </p:txBody>
      </p:sp>
      <p:sp>
        <p:nvSpPr>
          <p:cNvPr id="11" name="Tijdelijke aanduiding vo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4001" y="2246400"/>
            <a:ext cx="4823959" cy="12192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200"/>
              </a:lnSpc>
              <a:spcBef>
                <a:spcPts val="0"/>
              </a:spcBef>
              <a:buNone/>
              <a:defRPr sz="2400">
                <a:latin typeface="Calibri" charset="0"/>
                <a:ea typeface="Calibri" charset="0"/>
                <a:cs typeface="Calibri" charset="0"/>
              </a:defRPr>
            </a:lvl1pPr>
            <a:lvl2pPr>
              <a:defRPr sz="2400">
                <a:latin typeface="Calibri" charset="0"/>
                <a:ea typeface="Calibri" charset="0"/>
                <a:cs typeface="Calibri" charset="0"/>
              </a:defRPr>
            </a:lvl2pPr>
            <a:lvl3pPr>
              <a:defRPr sz="2400">
                <a:latin typeface="Calibri" charset="0"/>
                <a:ea typeface="Calibri" charset="0"/>
                <a:cs typeface="Calibri" charset="0"/>
              </a:defRPr>
            </a:lvl3pPr>
            <a:lvl4pPr>
              <a:defRPr sz="2400">
                <a:latin typeface="Calibri" charset="0"/>
                <a:ea typeface="Calibri" charset="0"/>
                <a:cs typeface="Calibri" charset="0"/>
              </a:defRPr>
            </a:lvl4pPr>
            <a:lvl5pPr>
              <a:defRPr sz="2400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nl-NL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18723173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infographic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eshoek 6"/>
          <p:cNvSpPr/>
          <p:nvPr userDrawn="1"/>
        </p:nvSpPr>
        <p:spPr>
          <a:xfrm rot="5400000">
            <a:off x="6866970" y="3560631"/>
            <a:ext cx="3226049" cy="2781077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8" name="Zeshoek 7"/>
          <p:cNvSpPr/>
          <p:nvPr userDrawn="1"/>
        </p:nvSpPr>
        <p:spPr>
          <a:xfrm rot="5400000">
            <a:off x="5378669" y="882730"/>
            <a:ext cx="3226049" cy="2781077"/>
          </a:xfrm>
          <a:prstGeom prst="hexag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9" name="Zeshoek 8"/>
          <p:cNvSpPr/>
          <p:nvPr userDrawn="1"/>
        </p:nvSpPr>
        <p:spPr>
          <a:xfrm rot="5400000">
            <a:off x="8355273" y="882727"/>
            <a:ext cx="3226049" cy="2781077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5601153" y="1201971"/>
            <a:ext cx="2783564" cy="544447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3200" b="1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nl-NL"/>
              <a:t>Titel</a:t>
            </a:r>
          </a:p>
        </p:txBody>
      </p:sp>
      <p:sp>
        <p:nvSpPr>
          <p:cNvPr id="16" name="Tijdelijke aanduiding voor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5601153" y="1711127"/>
            <a:ext cx="2783564" cy="1814669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133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nl-NL"/>
              <a:t>Laat de tekst lopen binnen de vorm</a:t>
            </a:r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8566775" y="1201971"/>
            <a:ext cx="2783564" cy="54444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nl-NL"/>
              <a:t>Titel</a:t>
            </a:r>
          </a:p>
        </p:txBody>
      </p:sp>
      <p:sp>
        <p:nvSpPr>
          <p:cNvPr id="20" name="Tijdelijke aanduiding voor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8566775" y="1711127"/>
            <a:ext cx="2783564" cy="1814669"/>
          </a:xfrm>
          <a:prstGeom prst="rect">
            <a:avLst/>
          </a:prstGeo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33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nl-NL"/>
              <a:t>Laat de tekst lopen binnen de vorm</a:t>
            </a:r>
          </a:p>
        </p:txBody>
      </p:sp>
      <p:sp>
        <p:nvSpPr>
          <p:cNvPr id="21" name="Tijdelijke aanduiding voor tekst 2"/>
          <p:cNvSpPr>
            <a:spLocks noGrp="1"/>
          </p:cNvSpPr>
          <p:nvPr>
            <p:ph type="body" sz="quarter" idx="14" hasCustomPrompt="1"/>
          </p:nvPr>
        </p:nvSpPr>
        <p:spPr>
          <a:xfrm>
            <a:off x="7082722" y="3869292"/>
            <a:ext cx="2783564" cy="54444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nl-NL"/>
              <a:t>Titel</a:t>
            </a:r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sz="quarter" idx="15" hasCustomPrompt="1"/>
          </p:nvPr>
        </p:nvSpPr>
        <p:spPr>
          <a:xfrm>
            <a:off x="7082722" y="4378448"/>
            <a:ext cx="2783564" cy="18146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nl-NL"/>
              <a:t>Laat de tekst lopen binnen de vorm</a:t>
            </a:r>
          </a:p>
        </p:txBody>
      </p:sp>
      <p:sp>
        <p:nvSpPr>
          <p:cNvPr id="17" name="Tijdelijke aanduiding voor tekst 3"/>
          <p:cNvSpPr>
            <a:spLocks noGrp="1"/>
          </p:cNvSpPr>
          <p:nvPr>
            <p:ph type="body" sz="quarter" idx="16" hasCustomPrompt="1"/>
          </p:nvPr>
        </p:nvSpPr>
        <p:spPr>
          <a:xfrm>
            <a:off x="626074" y="813200"/>
            <a:ext cx="4250721" cy="12192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nl-NL"/>
              <a:t>Titel</a:t>
            </a:r>
          </a:p>
        </p:txBody>
      </p:sp>
      <p:sp>
        <p:nvSpPr>
          <p:cNvPr id="23" name="Tijdelijke aanduiding voor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617575" y="1399261"/>
            <a:ext cx="4259220" cy="121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33" b="1" i="0" baseline="0">
                <a:solidFill>
                  <a:schemeClr val="accent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609585" indent="0">
              <a:buNone/>
              <a:defRPr sz="2933" b="1" i="0">
                <a:latin typeface="Calibri" charset="0"/>
                <a:ea typeface="Calibri" charset="0"/>
                <a:cs typeface="Calibri" charset="0"/>
              </a:defRPr>
            </a:lvl2pPr>
            <a:lvl3pPr marL="1219170" indent="0">
              <a:buNone/>
              <a:defRPr sz="2933" b="1" i="0">
                <a:latin typeface="Calibri" charset="0"/>
                <a:ea typeface="Calibri" charset="0"/>
                <a:cs typeface="Calibri" charset="0"/>
              </a:defRPr>
            </a:lvl3pPr>
            <a:lvl4pPr marL="1828754" indent="0">
              <a:buNone/>
              <a:defRPr sz="2933" b="1" i="0">
                <a:latin typeface="Calibri" charset="0"/>
                <a:ea typeface="Calibri" charset="0"/>
                <a:cs typeface="Calibri" charset="0"/>
              </a:defRPr>
            </a:lvl4pPr>
            <a:lvl5pPr marL="2438339" indent="0">
              <a:buNone/>
              <a:defRPr sz="2933" b="1" i="0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nl-NL"/>
              <a:t>Subtitel</a:t>
            </a:r>
          </a:p>
        </p:txBody>
      </p:sp>
      <p:sp>
        <p:nvSpPr>
          <p:cNvPr id="24" name="Tijdelijke aanduiding voor tekst 10"/>
          <p:cNvSpPr>
            <a:spLocks noGrp="1"/>
          </p:cNvSpPr>
          <p:nvPr>
            <p:ph type="body" sz="quarter" idx="18" hasCustomPrompt="1"/>
          </p:nvPr>
        </p:nvSpPr>
        <p:spPr>
          <a:xfrm>
            <a:off x="626075" y="2306596"/>
            <a:ext cx="4250723" cy="12192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200"/>
              </a:lnSpc>
              <a:spcBef>
                <a:spcPts val="0"/>
              </a:spcBef>
              <a:buNone/>
              <a:defRPr sz="2400" b="0" i="0">
                <a:latin typeface="Calibri" charset="0"/>
                <a:ea typeface="Calibri" charset="0"/>
                <a:cs typeface="Calibri" charset="0"/>
              </a:defRPr>
            </a:lvl1pPr>
            <a:lvl2pPr marL="609585" indent="0">
              <a:buNone/>
              <a:defRPr sz="2400" b="0" i="0">
                <a:latin typeface="Calibri" charset="0"/>
                <a:ea typeface="Calibri" charset="0"/>
                <a:cs typeface="Calibri" charset="0"/>
              </a:defRPr>
            </a:lvl2pPr>
            <a:lvl3pPr marL="1219170" indent="0">
              <a:buNone/>
              <a:defRPr sz="2400" b="0" i="0">
                <a:latin typeface="Calibri" charset="0"/>
                <a:ea typeface="Calibri" charset="0"/>
                <a:cs typeface="Calibri" charset="0"/>
              </a:defRPr>
            </a:lvl3pPr>
            <a:lvl4pPr marL="1828754" indent="0">
              <a:buNone/>
              <a:defRPr sz="2400" b="0" i="0">
                <a:latin typeface="Calibri" charset="0"/>
                <a:ea typeface="Calibri" charset="0"/>
                <a:cs typeface="Calibri" charset="0"/>
              </a:defRPr>
            </a:lvl4pPr>
            <a:lvl5pPr marL="2438339" indent="0">
              <a:buNone/>
              <a:defRPr sz="2400" b="0" i="0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nl-NL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38565443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mag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/>
          <p:cNvSpPr>
            <a:spLocks noGrp="1"/>
          </p:cNvSpPr>
          <p:nvPr>
            <p:ph type="pic" sz="quarter" idx="10"/>
          </p:nvPr>
        </p:nvSpPr>
        <p:spPr>
          <a:xfrm>
            <a:off x="0" y="-10584"/>
            <a:ext cx="6123461" cy="68685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nl-NL"/>
          </a:p>
        </p:txBody>
      </p:sp>
      <p:sp>
        <p:nvSpPr>
          <p:cNvPr id="2" name="Rechthoek 1"/>
          <p:cNvSpPr/>
          <p:nvPr userDrawn="1"/>
        </p:nvSpPr>
        <p:spPr>
          <a:xfrm>
            <a:off x="6123461" y="0"/>
            <a:ext cx="6068540" cy="686858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7" name="Tijdelijke aanduiding voor tekst 13"/>
          <p:cNvSpPr>
            <a:spLocks noGrp="1"/>
          </p:cNvSpPr>
          <p:nvPr>
            <p:ph type="body" sz="quarter" idx="12" hasCustomPrompt="1"/>
          </p:nvPr>
        </p:nvSpPr>
        <p:spPr>
          <a:xfrm>
            <a:off x="6941753" y="820065"/>
            <a:ext cx="4657124" cy="154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2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57189" indent="0">
              <a:buNone/>
              <a:defRPr sz="2400"/>
            </a:lvl2pPr>
            <a:lvl3pPr marL="914377" indent="0">
              <a:buNone/>
              <a:defRPr sz="2400"/>
            </a:lvl3pPr>
            <a:lvl4pPr marL="1371566" indent="0">
              <a:buNone/>
              <a:defRPr sz="2400"/>
            </a:lvl4pPr>
            <a:lvl5pPr marL="1828754" indent="0">
              <a:buNone/>
              <a:defRPr sz="2400"/>
            </a:lvl5pPr>
          </a:lstStyle>
          <a:p>
            <a:pPr lvl="0"/>
            <a:r>
              <a:rPr lang="nl-NL"/>
              <a:t>Platte tekst</a:t>
            </a:r>
          </a:p>
        </p:txBody>
      </p:sp>
      <p:sp>
        <p:nvSpPr>
          <p:cNvPr id="9" name="Driehoek 8"/>
          <p:cNvSpPr/>
          <p:nvPr userDrawn="1"/>
        </p:nvSpPr>
        <p:spPr>
          <a:xfrm rot="5400000">
            <a:off x="6091371" y="852154"/>
            <a:ext cx="465267" cy="40109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nl-NL" sz="2400"/>
          </a:p>
        </p:txBody>
      </p:sp>
    </p:spTree>
    <p:extLst>
      <p:ext uri="{BB962C8B-B14F-4D97-AF65-F5344CB8AC3E}">
        <p14:creationId xmlns:p14="http://schemas.microsoft.com/office/powerpoint/2010/main" val="564363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2000"/>
    </mc:Choice>
    <mc:Fallback xmlns="">
      <p:transition spd="slow" advClick="0" advTm="12000"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5" y="2165350"/>
            <a:ext cx="10512407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091986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08938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393" y="1273923"/>
            <a:ext cx="10512407" cy="4888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80148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5" y="2165350"/>
            <a:ext cx="5148245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0030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7AE868-13D3-4D28-A8E4-F635F770F6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7438" y="2168525"/>
            <a:ext cx="5184775" cy="36004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27909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4" y="2165350"/>
            <a:ext cx="6480000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0030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BADABE6-3453-400C-A405-40E92F11ED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16195" y="2165349"/>
            <a:ext cx="3636000" cy="3603625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63642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E80C4A-E133-4D33-A918-188A03B20D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8AF9B4-D53B-48CC-B719-350DF8315F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0030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317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|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BA4B856-0844-4A5E-AE41-CE0BBB42EF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8760592" y="764704"/>
            <a:ext cx="2664000" cy="782883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4532A055-5BA4-4403-A366-228B9C50D371}"/>
              </a:ext>
            </a:extLst>
          </p:cNvPr>
          <p:cNvSpPr/>
          <p:nvPr userDrawn="1"/>
        </p:nvSpPr>
        <p:spPr bwMode="gray">
          <a:xfrm>
            <a:off x="767408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6C1647F-2191-4247-81E8-9C228A0E5BB9}"/>
              </a:ext>
            </a:extLst>
          </p:cNvPr>
          <p:cNvSpPr/>
          <p:nvPr userDrawn="1"/>
        </p:nvSpPr>
        <p:spPr bwMode="gray">
          <a:xfrm>
            <a:off x="2134960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536DB5C-2D83-44B8-BE71-939DCF11D466}"/>
              </a:ext>
            </a:extLst>
          </p:cNvPr>
          <p:cNvSpPr/>
          <p:nvPr userDrawn="1"/>
        </p:nvSpPr>
        <p:spPr bwMode="gray">
          <a:xfrm>
            <a:off x="3503232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A59BA87-989B-4212-A385-88F9BBFFEE35}"/>
              </a:ext>
            </a:extLst>
          </p:cNvPr>
          <p:cNvSpPr/>
          <p:nvPr userDrawn="1"/>
        </p:nvSpPr>
        <p:spPr bwMode="gray">
          <a:xfrm>
            <a:off x="4871504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29FE805F-F04F-4C6C-8274-AAEFCB77EBC3}"/>
              </a:ext>
            </a:extLst>
          </p:cNvPr>
          <p:cNvSpPr/>
          <p:nvPr userDrawn="1"/>
        </p:nvSpPr>
        <p:spPr bwMode="gray">
          <a:xfrm>
            <a:off x="6239776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ACC9F7F-296D-4E68-BDF7-A6F7563550B2}"/>
              </a:ext>
            </a:extLst>
          </p:cNvPr>
          <p:cNvSpPr/>
          <p:nvPr userDrawn="1"/>
        </p:nvSpPr>
        <p:spPr bwMode="gray">
          <a:xfrm>
            <a:off x="7608048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377451F-5027-4D1C-AB4F-0DB789E7728E}"/>
              </a:ext>
            </a:extLst>
          </p:cNvPr>
          <p:cNvSpPr/>
          <p:nvPr userDrawn="1"/>
        </p:nvSpPr>
        <p:spPr bwMode="gray">
          <a:xfrm>
            <a:off x="8976320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7CC8560-2321-46A0-98B8-3FADB7193A7A}"/>
              </a:ext>
            </a:extLst>
          </p:cNvPr>
          <p:cNvSpPr/>
          <p:nvPr userDrawn="1"/>
        </p:nvSpPr>
        <p:spPr bwMode="gray">
          <a:xfrm>
            <a:off x="10344592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61BB5C65-6A76-46C0-991A-9CEF370197C8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0" y="3762038"/>
            <a:ext cx="7967453" cy="990217"/>
          </a:xfrm>
          <a:solidFill>
            <a:schemeClr val="tx2"/>
          </a:solidFill>
        </p:spPr>
        <p:txBody>
          <a:bodyPr wrap="none" lIns="756000" tIns="144000" rIns="144000" bIns="288000" anchor="t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79D0483-F35A-4EBC-8122-3E2AE11D96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66763" y="4509120"/>
            <a:ext cx="5082317" cy="660144"/>
          </a:xfrm>
          <a:solidFill>
            <a:schemeClr val="tx1"/>
          </a:solidFill>
        </p:spPr>
        <p:txBody>
          <a:bodyPr wrap="none" lIns="144000" tIns="144000" rIns="144000" bIns="144000">
            <a:spAutoFit/>
          </a:bodyPr>
          <a:lstStyle>
            <a:lvl1pPr marL="0" indent="0">
              <a:buFontTx/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2400" i="0">
                <a:solidFill>
                  <a:schemeClr val="bg1"/>
                </a:solidFill>
                <a:latin typeface="+mn-lt"/>
              </a:defRPr>
            </a:lvl2pPr>
            <a:lvl3pPr marL="0" indent="0">
              <a:buFontTx/>
              <a:buNone/>
              <a:defRPr sz="2400" i="0">
                <a:solidFill>
                  <a:schemeClr val="bg1"/>
                </a:solidFill>
                <a:latin typeface="+mn-lt"/>
              </a:defRPr>
            </a:lvl3pPr>
            <a:lvl4pPr marL="0" indent="0">
              <a:buFontTx/>
              <a:buNone/>
              <a:defRPr sz="2400" i="0">
                <a:solidFill>
                  <a:schemeClr val="bg1"/>
                </a:solidFill>
                <a:latin typeface="+mn-lt"/>
              </a:defRPr>
            </a:lvl4pPr>
            <a:lvl5pPr marL="0" indent="0">
              <a:buFontTx/>
              <a:buNone/>
              <a:defRPr sz="2400" i="0">
                <a:solidFill>
                  <a:schemeClr val="bg1"/>
                </a:solidFill>
                <a:latin typeface="+mn-lt"/>
              </a:defRPr>
            </a:lvl5pPr>
            <a:lvl6pPr marL="0" indent="0">
              <a:buFontTx/>
              <a:buNone/>
              <a:defRPr sz="2400" i="0">
                <a:solidFill>
                  <a:schemeClr val="bg1"/>
                </a:solidFill>
                <a:latin typeface="+mn-lt"/>
              </a:defRPr>
            </a:lvl6pPr>
            <a:lvl7pPr marL="0" indent="0">
              <a:buFontTx/>
              <a:buNone/>
              <a:defRPr sz="2400" i="0">
                <a:solidFill>
                  <a:schemeClr val="bg1"/>
                </a:solidFill>
                <a:latin typeface="+mn-lt"/>
              </a:defRPr>
            </a:lvl7pPr>
            <a:lvl8pPr marL="0" indent="0">
              <a:buFontTx/>
              <a:buNone/>
              <a:defRPr sz="2400" i="0">
                <a:solidFill>
                  <a:schemeClr val="bg1"/>
                </a:solidFill>
                <a:latin typeface="+mn-lt"/>
              </a:defRPr>
            </a:lvl8pPr>
            <a:lvl9pPr marL="0" indent="0">
              <a:buFontTx/>
              <a:buNone/>
              <a:defRPr sz="2400" i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/>
              <a:t>Master-</a:t>
            </a:r>
            <a:r>
              <a:rPr lang="en-GB" err="1"/>
              <a:t>Un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6624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3" userDrawn="1">
          <p15:clr>
            <a:srgbClr val="5ACBF0"/>
          </p15:clr>
        </p15:guide>
        <p15:guide id="2" pos="7197" userDrawn="1">
          <p15:clr>
            <a:srgbClr val="5ACBF0"/>
          </p15:clr>
        </p15:guide>
        <p15:guide id="3" orient="horz" pos="3838" userDrawn="1">
          <p15:clr>
            <a:srgbClr val="5ACBF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+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DF379BB-6F1E-48A1-82A2-A4C682BB95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88" y="1624013"/>
            <a:ext cx="10514012" cy="41449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24278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6596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öp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2FC641E1-B8E3-413B-904A-2440DD1ED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810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2E1FDC18-783E-41B0-A0D2-168EE16F3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9B581941-4DFC-434A-86AA-4C1552688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24641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DB581137-3902-47A4-B44D-30D80149B4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26213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A208E58-4EC9-4B06-A80F-E2943394BD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27785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19039486-E685-4E1E-90DD-040C8A5525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0599" y="4942047"/>
            <a:ext cx="3036047" cy="956736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AE1C2790-44C2-4FE8-ABB1-D94E61B6F7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7976" y="4943791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56DAC46A-A81D-4BF6-853B-46D6CBA80C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467" y="4942047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9A11213-6B94-4070-B425-F3D4934CE78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42854" y="2647950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45B65062-1C74-4975-AB11-DD0AD47E1D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423504" y="2647950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4" name="Bildplatzhalter 6">
            <a:extLst>
              <a:ext uri="{FF2B5EF4-FFF2-40B4-BE49-F238E27FC236}">
                <a16:creationId xmlns:a16="http://schemas.microsoft.com/office/drawing/2014/main" id="{B8892F41-2115-496D-8249-7B6E9DA4EB7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45995" y="2647950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38400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3A081B37-E57B-48A2-AC9E-4C379D3B89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692" y="2494278"/>
            <a:ext cx="1044000" cy="1044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297B832-0F11-4184-8F58-81CF859E33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42643" y="1363878"/>
            <a:ext cx="1044000" cy="1044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58F55ED-DB6A-479A-B682-3AB85F09F6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74062" y="2494278"/>
            <a:ext cx="1044000" cy="1044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38F46AA-D2E1-4A9E-A65E-BF6590DA664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97867" y="1363878"/>
            <a:ext cx="1044000" cy="1044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EFAFAC9-23DC-43C2-9ADB-F76F4CE706E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23275" y="4940401"/>
            <a:ext cx="1044000" cy="1044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F36B00A-61CE-4138-B78D-643C3EE90EA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39297" y="3809901"/>
            <a:ext cx="1044000" cy="1044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6F6A55E-7A12-4A71-BB5D-BF0E01662F43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745033" y="4940401"/>
            <a:ext cx="1044000" cy="1044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CFACE34-BF9F-4E6D-9561-D540D2CF7D3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741438" y="3809901"/>
            <a:ext cx="1044000" cy="1044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413FF27-BA52-4273-A50A-F4100BB7D01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8285" y="2494278"/>
            <a:ext cx="1044000" cy="1044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3E35579-64AF-4682-AC8C-8FE30B29E3C7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09600" y="1363878"/>
            <a:ext cx="1044000" cy="1044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BAF70398-B919-4639-9C97-1ED35EDC7B8F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4896520" y="2494278"/>
            <a:ext cx="1044000" cy="1044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B424053-AFD7-4E94-BDBE-483630C81136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896520" y="1363878"/>
            <a:ext cx="1044000" cy="1044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03F1A61-6359-4273-B302-E846FF9B6314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107331" y="2494278"/>
            <a:ext cx="1044000" cy="1044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244A3B7D-14F6-4273-9FA2-ABD4F1E05843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8081504" y="1363878"/>
            <a:ext cx="1044000" cy="1044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22A49A86-9DE1-432A-9A12-E5E664D46A62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712464" y="2494278"/>
            <a:ext cx="1044000" cy="1044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B3ED136C-AFF3-4DE4-B377-1E83FC24B590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741438" y="1363878"/>
            <a:ext cx="1044000" cy="1044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5C6AD4FD-9D36-4DF8-A9BC-E107A62A8260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886881" y="4940401"/>
            <a:ext cx="1044000" cy="1044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9573D5A-5CE8-4ABA-8B10-DFC508FC9C30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811066" y="3809901"/>
            <a:ext cx="1044000" cy="1044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22D77ED-D0EC-480B-8F58-275A5C25D6DB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828450" y="2494278"/>
            <a:ext cx="1044000" cy="10440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6489A5EA-9CCC-4A15-A410-B2026DF0F238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3823546" y="1363878"/>
            <a:ext cx="1044000" cy="10440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DAA6DEA-6635-4248-AF8E-D44D50D7F16B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930881" y="4940401"/>
            <a:ext cx="1044000" cy="1044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AD1B1F4-9400-4057-84EE-557904E5B1A1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4879275" y="3809901"/>
            <a:ext cx="1044000" cy="10440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52C8BE19-2849-4FD4-A169-E1063DB50417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671810" y="3809901"/>
            <a:ext cx="1044000" cy="104400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4AA2F212-9470-496A-87E2-55B8A58EF4FA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678516" y="4940401"/>
            <a:ext cx="1044000" cy="104400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52F79728-FF7D-4B50-9478-536B0CB38F10}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609600" y="3809901"/>
            <a:ext cx="1044000" cy="10440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86CC9833-B63D-4885-89AF-0999C90FF18E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609600" y="4940401"/>
            <a:ext cx="1044000" cy="104400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35E9ECD9-E10E-4CBA-BF52-4670D794D592}"/>
              </a:ext>
            </a:extLst>
          </p:cNvPr>
          <p:cNvPicPr>
            <a:picLocks noChangeAspect="1"/>
          </p:cNvPicPr>
          <p:nvPr userDrawn="1"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8120863" y="3809901"/>
            <a:ext cx="1044000" cy="1044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AE32466E-9C49-47B3-AFAC-9704D0A86BEA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8174448" y="4940401"/>
            <a:ext cx="1044000" cy="1044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D1F1DB1D-D9AE-4D6B-8727-B6E25271C409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9230062" y="4940301"/>
            <a:ext cx="1044000" cy="1044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6FA8DC32-CC3B-41D8-BD42-0BD97DA6806F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9207329" y="3809901"/>
            <a:ext cx="1044000" cy="1044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9E30971E-6883-445B-883D-0CA8B2DA11F8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7024584" y="4940401"/>
            <a:ext cx="1044000" cy="10440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D621922B-D161-4786-8E9A-219FB2CC39E6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7030880" y="3809901"/>
            <a:ext cx="1044000" cy="10440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E0DDB2FD-F90D-41D7-B681-54C600089E09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668464" y="2494278"/>
            <a:ext cx="1044000" cy="10440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844CBE15-A36E-4639-872B-E2DD409D85E5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674513" y="1363878"/>
            <a:ext cx="1044000" cy="10440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12808483-DB95-4D93-A059-578112FE1EA6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7024584" y="1363878"/>
            <a:ext cx="1044000" cy="1044000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4F20F2D2-CEF1-4AF3-91EF-17308C8D6DE9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7002490" y="2494278"/>
            <a:ext cx="1044000" cy="1044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79B1C5B4-72F4-4F4C-89A5-843A94CB6958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5963445" y="1363878"/>
            <a:ext cx="1044000" cy="104400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F6C36229-30EB-405E-8BC0-F70774E67A6A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5923275" y="2494278"/>
            <a:ext cx="1044000" cy="10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9604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ild 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9762067" y="0"/>
            <a:ext cx="2032000" cy="11345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>
            <a:off x="0" y="-1708441"/>
            <a:ext cx="12192000" cy="1364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Formatfüllendes Bild als Folien-Hintergrund einfügen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67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/>
              <a:ea typeface="+mn-ea"/>
              <a:cs typeface="Georgia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Rechtsklick auf Folie &gt; Hintergrund formatieren &gt; Bild o. Struktur &gt; Bild auswähl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Die Bilder müsse ein Seitenverhältnis von 16:9 haben!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2538" y="123384"/>
            <a:ext cx="2176969" cy="791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71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2BE1EF-4549-4392-A069-4A855D1DC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940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06" imgH="306" progId="TCLayout.ActiveDocument.1">
                  <p:embed/>
                </p:oleObj>
              </mc:Choice>
              <mc:Fallback>
                <p:oleObj name="think-cell Folie" r:id="rId10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2BE1EF-4549-4392-A069-4A855D1DC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" name="Graphic 162">
            <a:extLst>
              <a:ext uri="{FF2B5EF4-FFF2-40B4-BE49-F238E27FC236}">
                <a16:creationId xmlns:a16="http://schemas.microsoft.com/office/drawing/2014/main" id="{1BA2B2E2-D574-4136-AC8E-1A4AE34A4EF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gray">
          <a:xfrm>
            <a:off x="623392" y="1160463"/>
            <a:ext cx="7662811" cy="4676116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1" u="none" strike="noStrike" kern="1200" cap="none" spc="0" normalizeH="0" baseline="0" noProof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t>TechTeam – IDSA Deck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0A788415-4FB8-4D5E-ABE7-08B6C31D6AFA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 bwMode="gray">
          <a:xfrm>
            <a:off x="5799774" y="5782338"/>
            <a:ext cx="1869416" cy="80682"/>
            <a:chOff x="9918885" y="5769260"/>
            <a:chExt cx="1568735" cy="67705"/>
          </a:xfrm>
        </p:grpSpPr>
        <p:sp>
          <p:nvSpPr>
            <p:cNvPr id="90" name="Graphic 8">
              <a:extLst>
                <a:ext uri="{FF2B5EF4-FFF2-40B4-BE49-F238E27FC236}">
                  <a16:creationId xmlns:a16="http://schemas.microsoft.com/office/drawing/2014/main" id="{C51955D0-F746-4E0D-9D2E-46995CCE6489}"/>
                </a:ext>
              </a:extLst>
            </p:cNvPr>
            <p:cNvSpPr/>
            <p:nvPr/>
          </p:nvSpPr>
          <p:spPr bwMode="gray">
            <a:xfrm>
              <a:off x="10510440" y="5769260"/>
              <a:ext cx="385624" cy="67705"/>
            </a:xfrm>
            <a:custGeom>
              <a:avLst/>
              <a:gdLst>
                <a:gd name="connsiteX0" fmla="*/ 343134 w 385624"/>
                <a:gd name="connsiteY0" fmla="*/ 74260 h 74475"/>
                <a:gd name="connsiteX1" fmla="*/ 43380 w 385624"/>
                <a:gd name="connsiteY1" fmla="*/ 74260 h 74475"/>
                <a:gd name="connsiteX2" fmla="*/ 445 w 385624"/>
                <a:gd name="connsiteY2" fmla="*/ 31855 h 74475"/>
                <a:gd name="connsiteX3" fmla="*/ 445 w 385624"/>
                <a:gd name="connsiteY3" fmla="*/ 31590 h 74475"/>
                <a:gd name="connsiteX4" fmla="*/ 445 w 385624"/>
                <a:gd name="connsiteY4" fmla="*/ -214 h 74475"/>
                <a:gd name="connsiteX5" fmla="*/ 386069 w 385624"/>
                <a:gd name="connsiteY5" fmla="*/ -214 h 74475"/>
                <a:gd name="connsiteX6" fmla="*/ 386069 w 385624"/>
                <a:gd name="connsiteY6" fmla="*/ 31590 h 74475"/>
                <a:gd name="connsiteX7" fmla="*/ 343399 w 385624"/>
                <a:gd name="connsiteY7" fmla="*/ 74260 h 74475"/>
                <a:gd name="connsiteX8" fmla="*/ 343134 w 385624"/>
                <a:gd name="connsiteY8" fmla="*/ 74260 h 7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624" h="74475">
                  <a:moveTo>
                    <a:pt x="343134" y="74260"/>
                  </a:moveTo>
                  <a:lnTo>
                    <a:pt x="43380" y="74260"/>
                  </a:lnTo>
                  <a:cubicBezTo>
                    <a:pt x="19819" y="74419"/>
                    <a:pt x="604" y="55416"/>
                    <a:pt x="445" y="31855"/>
                  </a:cubicBezTo>
                  <a:cubicBezTo>
                    <a:pt x="445" y="31775"/>
                    <a:pt x="445" y="31669"/>
                    <a:pt x="445" y="31590"/>
                  </a:cubicBezTo>
                  <a:lnTo>
                    <a:pt x="445" y="-214"/>
                  </a:lnTo>
                  <a:lnTo>
                    <a:pt x="386069" y="-214"/>
                  </a:lnTo>
                  <a:lnTo>
                    <a:pt x="386069" y="31590"/>
                  </a:lnTo>
                  <a:cubicBezTo>
                    <a:pt x="386069" y="55152"/>
                    <a:pt x="366960" y="74260"/>
                    <a:pt x="343399" y="74260"/>
                  </a:cubicBezTo>
                  <a:cubicBezTo>
                    <a:pt x="343319" y="74260"/>
                    <a:pt x="343213" y="74260"/>
                    <a:pt x="343134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Graphic 8">
              <a:extLst>
                <a:ext uri="{FF2B5EF4-FFF2-40B4-BE49-F238E27FC236}">
                  <a16:creationId xmlns:a16="http://schemas.microsoft.com/office/drawing/2014/main" id="{C5750388-5D98-494D-90ED-EC3ABB1117EC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11101996" y="5769260"/>
              <a:ext cx="385624" cy="67705"/>
            </a:xfrm>
            <a:custGeom>
              <a:avLst/>
              <a:gdLst>
                <a:gd name="connsiteX0" fmla="*/ 343133 w 385624"/>
                <a:gd name="connsiteY0" fmla="*/ 74260 h 74475"/>
                <a:gd name="connsiteX1" fmla="*/ 43380 w 385624"/>
                <a:gd name="connsiteY1" fmla="*/ 74260 h 74475"/>
                <a:gd name="connsiteX2" fmla="*/ 445 w 385624"/>
                <a:gd name="connsiteY2" fmla="*/ 31855 h 74475"/>
                <a:gd name="connsiteX3" fmla="*/ 445 w 385624"/>
                <a:gd name="connsiteY3" fmla="*/ 31590 h 74475"/>
                <a:gd name="connsiteX4" fmla="*/ 445 w 385624"/>
                <a:gd name="connsiteY4" fmla="*/ -214 h 74475"/>
                <a:gd name="connsiteX5" fmla="*/ 386069 w 385624"/>
                <a:gd name="connsiteY5" fmla="*/ -214 h 74475"/>
                <a:gd name="connsiteX6" fmla="*/ 386069 w 385624"/>
                <a:gd name="connsiteY6" fmla="*/ 31590 h 74475"/>
                <a:gd name="connsiteX7" fmla="*/ 343399 w 385624"/>
                <a:gd name="connsiteY7" fmla="*/ 74260 h 74475"/>
                <a:gd name="connsiteX8" fmla="*/ 343133 w 385624"/>
                <a:gd name="connsiteY8" fmla="*/ 74260 h 7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624" h="74475">
                  <a:moveTo>
                    <a:pt x="343133" y="74260"/>
                  </a:moveTo>
                  <a:lnTo>
                    <a:pt x="43380" y="74260"/>
                  </a:lnTo>
                  <a:cubicBezTo>
                    <a:pt x="19819" y="74419"/>
                    <a:pt x="604" y="55416"/>
                    <a:pt x="445" y="31855"/>
                  </a:cubicBezTo>
                  <a:cubicBezTo>
                    <a:pt x="445" y="31775"/>
                    <a:pt x="445" y="31669"/>
                    <a:pt x="445" y="31590"/>
                  </a:cubicBezTo>
                  <a:lnTo>
                    <a:pt x="445" y="-214"/>
                  </a:lnTo>
                  <a:lnTo>
                    <a:pt x="386069" y="-214"/>
                  </a:lnTo>
                  <a:lnTo>
                    <a:pt x="386069" y="31590"/>
                  </a:lnTo>
                  <a:cubicBezTo>
                    <a:pt x="386069" y="55152"/>
                    <a:pt x="366960" y="74260"/>
                    <a:pt x="343399" y="74260"/>
                  </a:cubicBezTo>
                  <a:cubicBezTo>
                    <a:pt x="343319" y="74260"/>
                    <a:pt x="343213" y="74260"/>
                    <a:pt x="343133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Graphic 8">
              <a:extLst>
                <a:ext uri="{FF2B5EF4-FFF2-40B4-BE49-F238E27FC236}">
                  <a16:creationId xmlns:a16="http://schemas.microsoft.com/office/drawing/2014/main" id="{C825B732-0A00-44B2-83C8-4B12124089AE}"/>
                </a:ext>
              </a:extLst>
            </p:cNvPr>
            <p:cNvSpPr/>
            <p:nvPr/>
          </p:nvSpPr>
          <p:spPr bwMode="gray">
            <a:xfrm>
              <a:off x="9918885" y="5769260"/>
              <a:ext cx="385624" cy="67704"/>
            </a:xfrm>
            <a:custGeom>
              <a:avLst/>
              <a:gdLst>
                <a:gd name="connsiteX0" fmla="*/ 343399 w 385624"/>
                <a:gd name="connsiteY0" fmla="*/ 74260 h 74474"/>
                <a:gd name="connsiteX1" fmla="*/ 43381 w 385624"/>
                <a:gd name="connsiteY1" fmla="*/ 74260 h 74474"/>
                <a:gd name="connsiteX2" fmla="*/ 445 w 385624"/>
                <a:gd name="connsiteY2" fmla="*/ 31590 h 74474"/>
                <a:gd name="connsiteX3" fmla="*/ 445 w 385624"/>
                <a:gd name="connsiteY3" fmla="*/ -214 h 74474"/>
                <a:gd name="connsiteX4" fmla="*/ 386070 w 385624"/>
                <a:gd name="connsiteY4" fmla="*/ -214 h 74474"/>
                <a:gd name="connsiteX5" fmla="*/ 386070 w 385624"/>
                <a:gd name="connsiteY5" fmla="*/ 31590 h 74474"/>
                <a:gd name="connsiteX6" fmla="*/ 343399 w 385624"/>
                <a:gd name="connsiteY6" fmla="*/ 74260 h 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5624" h="74474">
                  <a:moveTo>
                    <a:pt x="343399" y="74260"/>
                  </a:moveTo>
                  <a:lnTo>
                    <a:pt x="43381" y="74260"/>
                  </a:lnTo>
                  <a:cubicBezTo>
                    <a:pt x="19766" y="74260"/>
                    <a:pt x="604" y="55204"/>
                    <a:pt x="445" y="31590"/>
                  </a:cubicBezTo>
                  <a:lnTo>
                    <a:pt x="445" y="-214"/>
                  </a:lnTo>
                  <a:lnTo>
                    <a:pt x="386070" y="-214"/>
                  </a:lnTo>
                  <a:lnTo>
                    <a:pt x="386070" y="31590"/>
                  </a:lnTo>
                  <a:cubicBezTo>
                    <a:pt x="386070" y="55152"/>
                    <a:pt x="366960" y="74260"/>
                    <a:pt x="343399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3" name="Rechteck 22">
            <a:extLst>
              <a:ext uri="{FF2B5EF4-FFF2-40B4-BE49-F238E27FC236}">
                <a16:creationId xmlns:a16="http://schemas.microsoft.com/office/drawing/2014/main" id="{CBFE8A66-761E-4E06-817D-7AF9DB96F34A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4797292"/>
            <a:ext cx="1703388" cy="1260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26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9FE3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6" name="Rechteck 22">
            <a:extLst>
              <a:ext uri="{FF2B5EF4-FFF2-40B4-BE49-F238E27FC236}">
                <a16:creationId xmlns:a16="http://schemas.microsoft.com/office/drawing/2014/main" id="{54AD9F60-B627-4700-A183-E0B33451AB7E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8904592" y="116074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263482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67" name="Text Placeholder 3">
            <a:extLst>
              <a:ext uri="{FF2B5EF4-FFF2-40B4-BE49-F238E27FC236}">
                <a16:creationId xmlns:a16="http://schemas.microsoft.com/office/drawing/2014/main" id="{8D0DE548-E9D2-4F6A-BE14-E240D13F2AE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32609" y="123275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504000" tIns="288000" rIns="144000" bIns="14400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170" name="Text Placeholder 3">
            <a:extLst>
              <a:ext uri="{FF2B5EF4-FFF2-40B4-BE49-F238E27FC236}">
                <a16:creationId xmlns:a16="http://schemas.microsoft.com/office/drawing/2014/main" id="{E7DA00C2-CB7D-4D2E-9439-3F6D7D89A8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324" y="4948924"/>
            <a:ext cx="1692064" cy="956736"/>
          </a:xfrm>
        </p:spPr>
        <p:txBody>
          <a:bodyPr lIns="0" tIns="0" rIns="144000" bIns="0" anchor="ctr" anchorCtr="0">
            <a:noAutofit/>
          </a:bodyPr>
          <a:lstStyle>
            <a:lvl1pPr algn="r">
              <a:buNone/>
              <a:defRPr sz="4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2" name="Text Placeholder 3">
            <a:extLst>
              <a:ext uri="{FF2B5EF4-FFF2-40B4-BE49-F238E27FC236}">
                <a16:creationId xmlns:a16="http://schemas.microsoft.com/office/drawing/2014/main" id="{76310A97-B96F-4013-8E01-4AC633F792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58144" y="130267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4" name="Rechteck 22">
            <a:extLst>
              <a:ext uri="{FF2B5EF4-FFF2-40B4-BE49-F238E27FC236}">
                <a16:creationId xmlns:a16="http://schemas.microsoft.com/office/drawing/2014/main" id="{FFA0F5B5-F586-4B10-A55A-AE332A18EB45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8904592" y="440110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263482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75" name="Text Placeholder 3">
            <a:extLst>
              <a:ext uri="{FF2B5EF4-FFF2-40B4-BE49-F238E27FC236}">
                <a16:creationId xmlns:a16="http://schemas.microsoft.com/office/drawing/2014/main" id="{EC7278C5-627E-4081-BE78-7DC81DD7D7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32609" y="447311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lIns="504000" tIns="288000" rIns="144000" bIns="144000" rtlCol="0">
            <a:normAutofit/>
          </a:bodyPr>
          <a:lstStyle>
            <a:lvl1pPr marL="0" indent="0">
              <a:buNone/>
              <a:defRPr lang="en-GB" sz="2000" b="1" dirty="0">
                <a:solidFill>
                  <a:schemeClr val="tx2"/>
                </a:solidFill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en-GB"/>
              <a:t>Description</a:t>
            </a:r>
          </a:p>
        </p:txBody>
      </p:sp>
      <p:sp>
        <p:nvSpPr>
          <p:cNvPr id="176" name="Text Placeholder 3">
            <a:extLst>
              <a:ext uri="{FF2B5EF4-FFF2-40B4-BE49-F238E27FC236}">
                <a16:creationId xmlns:a16="http://schemas.microsoft.com/office/drawing/2014/main" id="{ABF5F8D6-B992-449F-AAEC-B7D513D9B5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58144" y="454303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7" name="Rechteck 22">
            <a:extLst>
              <a:ext uri="{FF2B5EF4-FFF2-40B4-BE49-F238E27FC236}">
                <a16:creationId xmlns:a16="http://schemas.microsoft.com/office/drawing/2014/main" id="{3532B7CB-D4B0-4DB1-B04F-8E1E31CD9522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gray">
          <a:xfrm>
            <a:off x="8904592" y="278092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263482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78" name="Text Placeholder 3">
            <a:extLst>
              <a:ext uri="{FF2B5EF4-FFF2-40B4-BE49-F238E27FC236}">
                <a16:creationId xmlns:a16="http://schemas.microsoft.com/office/drawing/2014/main" id="{1175D43F-A21E-4E54-8D17-AD2BF60BB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32609" y="285293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lIns="504000" tIns="288000" rIns="144000" bIns="144000" rtlCol="0">
            <a:normAutofit/>
          </a:bodyPr>
          <a:lstStyle>
            <a:lvl1pPr marL="0" indent="0">
              <a:buNone/>
              <a:defRPr lang="en-GB" sz="2000" b="1" dirty="0">
                <a:solidFill>
                  <a:schemeClr val="tx2"/>
                </a:solidFill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en-GB"/>
              <a:t>Description</a:t>
            </a:r>
          </a:p>
        </p:txBody>
      </p:sp>
      <p:sp>
        <p:nvSpPr>
          <p:cNvPr id="179" name="Text Placeholder 3">
            <a:extLst>
              <a:ext uri="{FF2B5EF4-FFF2-40B4-BE49-F238E27FC236}">
                <a16:creationId xmlns:a16="http://schemas.microsoft.com/office/drawing/2014/main" id="{7A047DE7-3B3C-491D-9211-B8A383ABE4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58144" y="292285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989091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 Headline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405909" y="2286002"/>
            <a:ext cx="11244224" cy="3545447"/>
          </a:xfrm>
          <a:prstGeom prst="rect">
            <a:avLst/>
          </a:prstGeom>
        </p:spPr>
        <p:txBody>
          <a:bodyPr anchor="t">
            <a:normAutofit/>
          </a:bodyPr>
          <a:lstStyle>
            <a:lvl1pPr marL="239173" marR="0" indent="-239173" algn="l" defTabSz="60957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133" baseline="0">
                <a:solidFill>
                  <a:schemeClr val="tx1"/>
                </a:solidFill>
              </a:defRPr>
            </a:lvl1pPr>
            <a:lvl2pPr marL="478343" indent="-228589">
              <a:buFont typeface="Symbol" panose="05050102010706020507" pitchFamily="18" charset="2"/>
              <a:buChar char="-"/>
              <a:defRPr sz="1600" baseline="0">
                <a:solidFill>
                  <a:schemeClr val="tx1"/>
                </a:solidFill>
              </a:defRPr>
            </a:lvl2pPr>
            <a:lvl3pPr marL="598988" indent="-110061">
              <a:buFont typeface="Arial" panose="020B0604020202020204" pitchFamily="34" charset="0"/>
              <a:buChar char="•"/>
              <a:defRPr sz="1067">
                <a:solidFill>
                  <a:schemeClr val="tx1"/>
                </a:solidFill>
              </a:defRPr>
            </a:lvl3pPr>
            <a:lvl4pPr marL="833926" indent="-256104">
              <a:buFont typeface="Symbol" panose="05050102010706020507" pitchFamily="18" charset="2"/>
              <a:buChar char="-"/>
              <a:tabLst>
                <a:tab pos="833926" algn="l"/>
                <a:tab pos="1077330" algn="l"/>
              </a:tabLst>
              <a:defRPr sz="1867" baseline="0">
                <a:solidFill>
                  <a:schemeClr val="tx1"/>
                </a:solidFill>
              </a:defRPr>
            </a:lvl4pPr>
            <a:lvl5pPr marL="1077330" indent="-262453">
              <a:buFont typeface="Georgia" panose="02040502050405020303" pitchFamily="18" charset="0"/>
              <a:buChar char="»"/>
              <a:defRPr sz="1867">
                <a:solidFill>
                  <a:schemeClr val="tx1"/>
                </a:solidFill>
              </a:defRPr>
            </a:lvl5pPr>
            <a:lvl6pPr marL="304784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n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marL="0" marR="0" lvl="0" indent="0" algn="l" defTabSz="60957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de-DE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2134" y="206264"/>
            <a:ext cx="2091868" cy="759961"/>
          </a:xfrm>
          <a:prstGeom prst="rect">
            <a:avLst/>
          </a:prstGeom>
        </p:spPr>
      </p:pic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412275" y="694267"/>
            <a:ext cx="9349792" cy="795868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24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err="1"/>
              <a:t>Theme</a:t>
            </a:r>
            <a:r>
              <a:rPr lang="de-DE"/>
              <a:t> Headline</a:t>
            </a:r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06401" y="1490136"/>
            <a:ext cx="9355667" cy="79586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24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err="1"/>
              <a:t>Subtitle</a:t>
            </a:r>
            <a:endParaRPr lang="de-DE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406385" y="6310788"/>
            <a:ext cx="23958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BA2E3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www.internationaldataspaces.org</a:t>
            </a:r>
          </a:p>
        </p:txBody>
      </p:sp>
      <p:sp>
        <p:nvSpPr>
          <p:cNvPr id="15" name="Foliennummernplatzhalter 5"/>
          <p:cNvSpPr txBox="1">
            <a:spLocks/>
          </p:cNvSpPr>
          <p:nvPr userDrawn="1"/>
        </p:nvSpPr>
        <p:spPr>
          <a:xfrm>
            <a:off x="10351213" y="6360589"/>
            <a:ext cx="1409417" cy="226313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/</a:t>
            </a:r>
            <a:r>
              <a:rPr kumimoji="0" lang="de-DE" sz="1067" b="0" i="0" u="none" strike="noStrike" kern="1200" cap="none" spc="0" normalizeH="0" baseline="0" noProof="0">
                <a:ln>
                  <a:noFill/>
                </a:ln>
                <a:solidFill>
                  <a:srgbClr val="0092D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fld id="{DA28A8A7-1DE1-8B42-B22F-FAE404325B08}" type="slidenum">
              <a:rPr kumimoji="0" lang="de-DE" sz="1067" b="0" i="0" u="none" strike="noStrike" kern="1200" cap="none" spc="0" normalizeH="0" baseline="0" noProof="0" smtClean="0">
                <a:ln>
                  <a:noFill/>
                </a:ln>
                <a:solidFill>
                  <a:srgbClr val="0BA2E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67" b="0" i="0" u="none" strike="noStrike" kern="1200" cap="none" spc="0" normalizeH="0" baseline="0" noProof="0">
              <a:ln>
                <a:noFill/>
              </a:ln>
              <a:solidFill>
                <a:srgbClr val="0BA2E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7203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29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D0A203-2BF8-4F9B-BA43-C41E7DF624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6547FF2-B5BE-45A3-AAA3-6F7D0F3588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8367A2-723D-416F-AF32-4E3DC0D1B4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A0D0CA-227C-4B56-95D6-E580FE29DFE8}" type="datetimeFigureOut">
              <a:rPr lang="de-DE" smtClean="0"/>
              <a:t>09.02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92EB65-0E3E-40E1-9397-47F0BC981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613C27E-F124-41BA-9D3A-3D72E06018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5A99D6-F20D-499B-9CDC-3DDBC08BEC9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08239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838200" y="368299"/>
            <a:ext cx="8110591" cy="792163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839788" y="1160463"/>
            <a:ext cx="10512425" cy="558800"/>
          </a:xfrm>
        </p:spPr>
        <p:txBody>
          <a:bodyPr>
            <a:noAutofit/>
          </a:bodyPr>
          <a:lstStyle>
            <a:lvl1pPr marL="0" indent="0" algn="l" defTabSz="121917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2600" i="1" kern="1200" dirty="0">
                <a:solidFill>
                  <a:srgbClr val="00B7F3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609585" indent="0">
              <a:buFontTx/>
              <a:buNone/>
              <a:defRPr/>
            </a:lvl2pPr>
            <a:lvl3pPr marL="1219170" indent="0">
              <a:buFontTx/>
              <a:buNone/>
              <a:defRPr/>
            </a:lvl3pPr>
            <a:lvl4pPr marL="1828754" indent="0">
              <a:buFontTx/>
              <a:buNone/>
              <a:defRPr/>
            </a:lvl4pPr>
            <a:lvl5pPr marL="2438339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839788" y="2168525"/>
            <a:ext cx="10512425" cy="362902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>
              <a:spcBef>
                <a:spcPts val="0"/>
              </a:spcBef>
              <a:buFontTx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indent="0">
              <a:spcBef>
                <a:spcPts val="0"/>
              </a:spcBef>
              <a:buFontTx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indent="0">
              <a:spcBef>
                <a:spcPts val="0"/>
              </a:spcBef>
              <a:buFontTx/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indent="0">
              <a:spcBef>
                <a:spcPts val="0"/>
              </a:spcBef>
              <a:buFontTx/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08FE6A85-41EF-435D-88EE-E150B925D8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8887E61E-3D97-4035-B67C-4DB531DC70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1431830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6" y="2165352"/>
            <a:ext cx="10512407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2107070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8C20F7C-3931-4AF5-83F3-F3BA74B04D3D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503712" y="4005064"/>
            <a:ext cx="4896544" cy="792000"/>
          </a:xfrm>
        </p:spPr>
        <p:txBody>
          <a:bodyPr>
            <a:noAutofit/>
          </a:bodyPr>
          <a:lstStyle>
            <a:lvl1pPr marL="1588" indent="0" algn="r">
              <a:spcBef>
                <a:spcPts val="0"/>
              </a:spcBef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1588" indent="0" algn="r">
              <a:spcBef>
                <a:spcPts val="0"/>
              </a:spcBef>
              <a:buNone/>
              <a:defRPr sz="2400" i="0">
                <a:solidFill>
                  <a:schemeClr val="tx1"/>
                </a:solidFill>
                <a:latin typeface="+mn-lt"/>
              </a:defRPr>
            </a:lvl2pPr>
            <a:lvl3pPr marL="1588" indent="0" algn="r">
              <a:spcBef>
                <a:spcPts val="0"/>
              </a:spcBef>
              <a:buNone/>
              <a:defRPr sz="2400" i="0">
                <a:solidFill>
                  <a:schemeClr val="tx1"/>
                </a:solidFill>
                <a:latin typeface="+mn-lt"/>
              </a:defRPr>
            </a:lvl3pPr>
            <a:lvl4pPr marL="1588" indent="0" algn="r">
              <a:spcBef>
                <a:spcPts val="0"/>
              </a:spcBef>
              <a:buNone/>
              <a:defRPr sz="2400" i="0">
                <a:solidFill>
                  <a:schemeClr val="tx1"/>
                </a:solidFill>
                <a:latin typeface="+mn-lt"/>
              </a:defRPr>
            </a:lvl4pPr>
            <a:lvl5pPr marL="1588" indent="0" algn="r">
              <a:spcBef>
                <a:spcPts val="0"/>
              </a:spcBef>
              <a:buNone/>
              <a:defRPr sz="2400" i="0">
                <a:solidFill>
                  <a:schemeClr val="tx1"/>
                </a:solidFill>
                <a:latin typeface="+mn-lt"/>
              </a:defRPr>
            </a:lvl5pPr>
            <a:lvl6pPr marL="1588" indent="0" algn="r">
              <a:spcBef>
                <a:spcPts val="0"/>
              </a:spcBef>
              <a:buNone/>
              <a:defRPr sz="2400" i="0">
                <a:solidFill>
                  <a:schemeClr val="tx1"/>
                </a:solidFill>
                <a:latin typeface="+mn-lt"/>
              </a:defRPr>
            </a:lvl6pPr>
            <a:lvl7pPr marL="1588" indent="0" algn="r">
              <a:spcBef>
                <a:spcPts val="0"/>
              </a:spcBef>
              <a:buNone/>
              <a:defRPr sz="2400" i="0">
                <a:solidFill>
                  <a:schemeClr val="tx1"/>
                </a:solidFill>
                <a:latin typeface="+mn-lt"/>
              </a:defRPr>
            </a:lvl7pPr>
            <a:lvl8pPr marL="1588" indent="0" algn="r">
              <a:spcBef>
                <a:spcPts val="0"/>
              </a:spcBef>
              <a:buNone/>
              <a:defRPr sz="2400" i="0">
                <a:solidFill>
                  <a:schemeClr val="tx1"/>
                </a:solidFill>
                <a:latin typeface="+mn-lt"/>
              </a:defRPr>
            </a:lvl8pPr>
            <a:lvl9pPr marL="1588" indent="0" algn="r">
              <a:spcBef>
                <a:spcPts val="0"/>
              </a:spcBef>
              <a:buNone/>
              <a:defRPr sz="240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</a:t>
            </a:r>
          </a:p>
          <a:p>
            <a:pPr lvl="2"/>
            <a:r>
              <a:rPr lang="de-DE"/>
              <a:t>Drei</a:t>
            </a:r>
          </a:p>
          <a:p>
            <a:pPr lvl="3"/>
            <a:r>
              <a:rPr lang="de-DE"/>
              <a:t>Vier</a:t>
            </a:r>
          </a:p>
          <a:p>
            <a:pPr lvl="4"/>
            <a:r>
              <a:rPr lang="de-DE"/>
              <a:t>Fünf</a:t>
            </a:r>
          </a:p>
          <a:p>
            <a:pPr lvl="5"/>
            <a:r>
              <a:rPr lang="de-DE"/>
              <a:t>Sechs</a:t>
            </a:r>
          </a:p>
          <a:p>
            <a:pPr lvl="6"/>
            <a:r>
              <a:rPr lang="de-DE"/>
              <a:t>Sieben</a:t>
            </a:r>
          </a:p>
          <a:p>
            <a:pPr lvl="7"/>
            <a:r>
              <a:rPr lang="de-DE"/>
              <a:t>Acht</a:t>
            </a:r>
          </a:p>
          <a:p>
            <a:pPr lvl="8"/>
            <a:r>
              <a:rPr lang="de-DE"/>
              <a:t>Neun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A8B26A25-7CDC-4432-A192-DDF57B930275}"/>
              </a:ext>
            </a:extLst>
          </p:cNvPr>
          <p:cNvSpPr/>
          <p:nvPr userDrawn="1"/>
        </p:nvSpPr>
        <p:spPr bwMode="gray">
          <a:xfrm>
            <a:off x="8328248" y="0"/>
            <a:ext cx="3863752" cy="5445224"/>
          </a:xfrm>
          <a:custGeom>
            <a:avLst/>
            <a:gdLst>
              <a:gd name="connsiteX0" fmla="*/ 825519 w 3863752"/>
              <a:gd name="connsiteY0" fmla="*/ 0 h 5445224"/>
              <a:gd name="connsiteX1" fmla="*/ 3863752 w 3863752"/>
              <a:gd name="connsiteY1" fmla="*/ 0 h 5445224"/>
              <a:gd name="connsiteX2" fmla="*/ 3863752 w 3863752"/>
              <a:gd name="connsiteY2" fmla="*/ 5389750 h 5445224"/>
              <a:gd name="connsiteX3" fmla="*/ 3611094 w 3863752"/>
              <a:gd name="connsiteY3" fmla="*/ 5428310 h 5445224"/>
              <a:gd name="connsiteX4" fmla="*/ 3276129 w 3863752"/>
              <a:gd name="connsiteY4" fmla="*/ 5445224 h 5445224"/>
              <a:gd name="connsiteX5" fmla="*/ 0 w 3863752"/>
              <a:gd name="connsiteY5" fmla="*/ 2169095 h 5445224"/>
              <a:gd name="connsiteX6" fmla="*/ 748109 w 3863752"/>
              <a:gd name="connsiteY6" fmla="*/ 85173 h 5445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63752" h="5445224">
                <a:moveTo>
                  <a:pt x="825519" y="0"/>
                </a:moveTo>
                <a:lnTo>
                  <a:pt x="3863752" y="0"/>
                </a:lnTo>
                <a:lnTo>
                  <a:pt x="3863752" y="5389750"/>
                </a:lnTo>
                <a:lnTo>
                  <a:pt x="3611094" y="5428310"/>
                </a:lnTo>
                <a:cubicBezTo>
                  <a:pt x="3500960" y="5439495"/>
                  <a:pt x="3389214" y="5445224"/>
                  <a:pt x="3276129" y="5445224"/>
                </a:cubicBezTo>
                <a:cubicBezTo>
                  <a:pt x="1466773" y="5445224"/>
                  <a:pt x="0" y="3978451"/>
                  <a:pt x="0" y="2169095"/>
                </a:cubicBezTo>
                <a:cubicBezTo>
                  <a:pt x="0" y="1377502"/>
                  <a:pt x="280750" y="651481"/>
                  <a:pt x="748109" y="85173"/>
                </a:cubicBezTo>
                <a:close/>
              </a:path>
            </a:pathLst>
          </a:custGeom>
          <a:pattFill prst="wdUpDiag">
            <a:fgClr>
              <a:schemeClr val="tx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9AE3397-185F-4DE1-892E-ACCF159F87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608352" y="2132856"/>
            <a:ext cx="1656000" cy="16560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algn="ctr">
              <a:defRPr sz="8000" b="0" i="1">
                <a:solidFill>
                  <a:schemeClr val="tx2"/>
                </a:solidFill>
                <a:latin typeface="Georgia" panose="02040502050405020303" pitchFamily="18" charset="0"/>
              </a:defRPr>
            </a:lvl1pPr>
          </a:lstStyle>
          <a:p>
            <a:r>
              <a:rPr lang="de-DE"/>
              <a:t>01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5A0B2D49-5062-4D7B-9E04-278B089F2FF5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 bwMode="gray">
          <a:xfrm>
            <a:off x="3503471" y="4941168"/>
            <a:ext cx="4896785" cy="935162"/>
          </a:xfrm>
        </p:spPr>
        <p:txBody>
          <a:bodyPr>
            <a:noAutofit/>
          </a:bodyPr>
          <a:lstStyle>
            <a:lvl1pPr marL="1588" indent="0" algn="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1pPr>
            <a:lvl2pPr marL="1588" indent="0" algn="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2pPr>
            <a:lvl3pPr marL="1588" indent="0" algn="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3pPr>
            <a:lvl4pPr marL="1588" indent="0" algn="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4pPr>
            <a:lvl5pPr marL="1588" indent="0" algn="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5pPr>
            <a:lvl6pPr marL="1588" indent="0" algn="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6pPr>
            <a:lvl7pPr marL="1588" indent="0" algn="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7pPr>
            <a:lvl8pPr marL="1588" indent="0" algn="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8pPr>
            <a:lvl9pPr marL="1588" indent="0" algn="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Optionaler Text</a:t>
            </a:r>
          </a:p>
          <a:p>
            <a:pPr lvl="1"/>
            <a:r>
              <a:rPr lang="de-DE"/>
              <a:t>Zwei</a:t>
            </a:r>
          </a:p>
          <a:p>
            <a:pPr lvl="2"/>
            <a:r>
              <a:rPr lang="de-DE"/>
              <a:t>Drei</a:t>
            </a:r>
          </a:p>
          <a:p>
            <a:pPr lvl="3"/>
            <a:r>
              <a:rPr lang="de-DE"/>
              <a:t>Vier</a:t>
            </a:r>
          </a:p>
          <a:p>
            <a:pPr lvl="4"/>
            <a:r>
              <a:rPr lang="de-DE"/>
              <a:t>Fünf</a:t>
            </a:r>
          </a:p>
          <a:p>
            <a:pPr lvl="5"/>
            <a:r>
              <a:rPr lang="de-DE"/>
              <a:t>Sechs</a:t>
            </a:r>
          </a:p>
          <a:p>
            <a:pPr lvl="6"/>
            <a:r>
              <a:rPr lang="de-DE"/>
              <a:t>Sieben</a:t>
            </a:r>
          </a:p>
          <a:p>
            <a:pPr lvl="7"/>
            <a:r>
              <a:rPr lang="de-DE"/>
              <a:t>Acht</a:t>
            </a:r>
          </a:p>
          <a:p>
            <a:pPr lvl="8"/>
            <a:r>
              <a:rPr lang="de-DE"/>
              <a:t>Neun</a:t>
            </a:r>
          </a:p>
        </p:txBody>
      </p:sp>
    </p:spTree>
    <p:extLst>
      <p:ext uri="{BB962C8B-B14F-4D97-AF65-F5344CB8AC3E}">
        <p14:creationId xmlns:p14="http://schemas.microsoft.com/office/powerpoint/2010/main" val="1467441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394" y="1273923"/>
            <a:ext cx="10512407" cy="4888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224596062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6" y="2165352"/>
            <a:ext cx="5148245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7AE868-13D3-4D28-A8E4-F635F770F6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7439" y="2168525"/>
            <a:ext cx="5184775" cy="36004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23539341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4" y="2165352"/>
            <a:ext cx="6480000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BADABE6-3453-400C-A405-40E92F11ED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16195" y="2165350"/>
            <a:ext cx="3636000" cy="3603625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346968098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E80C4A-E133-4D33-A918-188A03B20D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8AF9B4-D53B-48CC-B719-350DF8315F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46287359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+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DF379BB-6F1E-48A1-82A2-A4C682BB95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89" y="1624013"/>
            <a:ext cx="10514012" cy="41449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38149389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26787854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2BE1EF-4549-4392-A069-4A855D1DC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092605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06" imgH="306" progId="TCLayout.ActiveDocument.1">
                  <p:embed/>
                </p:oleObj>
              </mc:Choice>
              <mc:Fallback>
                <p:oleObj name="think-cell Folie" r:id="rId10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2BE1EF-4549-4392-A069-4A855D1DC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" name="Graphic 162">
            <a:extLst>
              <a:ext uri="{FF2B5EF4-FFF2-40B4-BE49-F238E27FC236}">
                <a16:creationId xmlns:a16="http://schemas.microsoft.com/office/drawing/2014/main" id="{1BA2B2E2-D574-4136-AC8E-1A4AE34A4EF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gray">
          <a:xfrm>
            <a:off x="623393" y="1160463"/>
            <a:ext cx="7662811" cy="4676116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0A788415-4FB8-4D5E-ABE7-08B6C31D6AFA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 bwMode="gray">
          <a:xfrm>
            <a:off x="5799773" y="5782337"/>
            <a:ext cx="1869416" cy="80683"/>
            <a:chOff x="9918885" y="5769260"/>
            <a:chExt cx="1568735" cy="67705"/>
          </a:xfrm>
        </p:grpSpPr>
        <p:sp>
          <p:nvSpPr>
            <p:cNvPr id="90" name="Graphic 8">
              <a:extLst>
                <a:ext uri="{FF2B5EF4-FFF2-40B4-BE49-F238E27FC236}">
                  <a16:creationId xmlns:a16="http://schemas.microsoft.com/office/drawing/2014/main" id="{C51955D0-F746-4E0D-9D2E-46995CCE6489}"/>
                </a:ext>
              </a:extLst>
            </p:cNvPr>
            <p:cNvSpPr/>
            <p:nvPr/>
          </p:nvSpPr>
          <p:spPr bwMode="gray">
            <a:xfrm>
              <a:off x="10510440" y="5769260"/>
              <a:ext cx="385624" cy="67705"/>
            </a:xfrm>
            <a:custGeom>
              <a:avLst/>
              <a:gdLst>
                <a:gd name="connsiteX0" fmla="*/ 343134 w 385624"/>
                <a:gd name="connsiteY0" fmla="*/ 74260 h 74475"/>
                <a:gd name="connsiteX1" fmla="*/ 43380 w 385624"/>
                <a:gd name="connsiteY1" fmla="*/ 74260 h 74475"/>
                <a:gd name="connsiteX2" fmla="*/ 445 w 385624"/>
                <a:gd name="connsiteY2" fmla="*/ 31855 h 74475"/>
                <a:gd name="connsiteX3" fmla="*/ 445 w 385624"/>
                <a:gd name="connsiteY3" fmla="*/ 31590 h 74475"/>
                <a:gd name="connsiteX4" fmla="*/ 445 w 385624"/>
                <a:gd name="connsiteY4" fmla="*/ -214 h 74475"/>
                <a:gd name="connsiteX5" fmla="*/ 386069 w 385624"/>
                <a:gd name="connsiteY5" fmla="*/ -214 h 74475"/>
                <a:gd name="connsiteX6" fmla="*/ 386069 w 385624"/>
                <a:gd name="connsiteY6" fmla="*/ 31590 h 74475"/>
                <a:gd name="connsiteX7" fmla="*/ 343399 w 385624"/>
                <a:gd name="connsiteY7" fmla="*/ 74260 h 74475"/>
                <a:gd name="connsiteX8" fmla="*/ 343134 w 385624"/>
                <a:gd name="connsiteY8" fmla="*/ 74260 h 7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624" h="74475">
                  <a:moveTo>
                    <a:pt x="343134" y="74260"/>
                  </a:moveTo>
                  <a:lnTo>
                    <a:pt x="43380" y="74260"/>
                  </a:lnTo>
                  <a:cubicBezTo>
                    <a:pt x="19819" y="74419"/>
                    <a:pt x="604" y="55416"/>
                    <a:pt x="445" y="31855"/>
                  </a:cubicBezTo>
                  <a:cubicBezTo>
                    <a:pt x="445" y="31775"/>
                    <a:pt x="445" y="31669"/>
                    <a:pt x="445" y="31590"/>
                  </a:cubicBezTo>
                  <a:lnTo>
                    <a:pt x="445" y="-214"/>
                  </a:lnTo>
                  <a:lnTo>
                    <a:pt x="386069" y="-214"/>
                  </a:lnTo>
                  <a:lnTo>
                    <a:pt x="386069" y="31590"/>
                  </a:lnTo>
                  <a:cubicBezTo>
                    <a:pt x="386069" y="55152"/>
                    <a:pt x="366960" y="74260"/>
                    <a:pt x="343399" y="74260"/>
                  </a:cubicBezTo>
                  <a:cubicBezTo>
                    <a:pt x="343319" y="74260"/>
                    <a:pt x="343213" y="74260"/>
                    <a:pt x="343134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91" name="Graphic 8">
              <a:extLst>
                <a:ext uri="{FF2B5EF4-FFF2-40B4-BE49-F238E27FC236}">
                  <a16:creationId xmlns:a16="http://schemas.microsoft.com/office/drawing/2014/main" id="{C5750388-5D98-494D-90ED-EC3ABB1117EC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11101996" y="5769260"/>
              <a:ext cx="385624" cy="67705"/>
            </a:xfrm>
            <a:custGeom>
              <a:avLst/>
              <a:gdLst>
                <a:gd name="connsiteX0" fmla="*/ 343133 w 385624"/>
                <a:gd name="connsiteY0" fmla="*/ 74260 h 74475"/>
                <a:gd name="connsiteX1" fmla="*/ 43380 w 385624"/>
                <a:gd name="connsiteY1" fmla="*/ 74260 h 74475"/>
                <a:gd name="connsiteX2" fmla="*/ 445 w 385624"/>
                <a:gd name="connsiteY2" fmla="*/ 31855 h 74475"/>
                <a:gd name="connsiteX3" fmla="*/ 445 w 385624"/>
                <a:gd name="connsiteY3" fmla="*/ 31590 h 74475"/>
                <a:gd name="connsiteX4" fmla="*/ 445 w 385624"/>
                <a:gd name="connsiteY4" fmla="*/ -214 h 74475"/>
                <a:gd name="connsiteX5" fmla="*/ 386069 w 385624"/>
                <a:gd name="connsiteY5" fmla="*/ -214 h 74475"/>
                <a:gd name="connsiteX6" fmla="*/ 386069 w 385624"/>
                <a:gd name="connsiteY6" fmla="*/ 31590 h 74475"/>
                <a:gd name="connsiteX7" fmla="*/ 343399 w 385624"/>
                <a:gd name="connsiteY7" fmla="*/ 74260 h 74475"/>
                <a:gd name="connsiteX8" fmla="*/ 343133 w 385624"/>
                <a:gd name="connsiteY8" fmla="*/ 74260 h 7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624" h="74475">
                  <a:moveTo>
                    <a:pt x="343133" y="74260"/>
                  </a:moveTo>
                  <a:lnTo>
                    <a:pt x="43380" y="74260"/>
                  </a:lnTo>
                  <a:cubicBezTo>
                    <a:pt x="19819" y="74419"/>
                    <a:pt x="604" y="55416"/>
                    <a:pt x="445" y="31855"/>
                  </a:cubicBezTo>
                  <a:cubicBezTo>
                    <a:pt x="445" y="31775"/>
                    <a:pt x="445" y="31669"/>
                    <a:pt x="445" y="31590"/>
                  </a:cubicBezTo>
                  <a:lnTo>
                    <a:pt x="445" y="-214"/>
                  </a:lnTo>
                  <a:lnTo>
                    <a:pt x="386069" y="-214"/>
                  </a:lnTo>
                  <a:lnTo>
                    <a:pt x="386069" y="31590"/>
                  </a:lnTo>
                  <a:cubicBezTo>
                    <a:pt x="386069" y="55152"/>
                    <a:pt x="366960" y="74260"/>
                    <a:pt x="343399" y="74260"/>
                  </a:cubicBezTo>
                  <a:cubicBezTo>
                    <a:pt x="343319" y="74260"/>
                    <a:pt x="343213" y="74260"/>
                    <a:pt x="343133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92" name="Graphic 8">
              <a:extLst>
                <a:ext uri="{FF2B5EF4-FFF2-40B4-BE49-F238E27FC236}">
                  <a16:creationId xmlns:a16="http://schemas.microsoft.com/office/drawing/2014/main" id="{C825B732-0A00-44B2-83C8-4B12124089AE}"/>
                </a:ext>
              </a:extLst>
            </p:cNvPr>
            <p:cNvSpPr/>
            <p:nvPr/>
          </p:nvSpPr>
          <p:spPr bwMode="gray">
            <a:xfrm>
              <a:off x="9918885" y="5769260"/>
              <a:ext cx="385624" cy="67704"/>
            </a:xfrm>
            <a:custGeom>
              <a:avLst/>
              <a:gdLst>
                <a:gd name="connsiteX0" fmla="*/ 343399 w 385624"/>
                <a:gd name="connsiteY0" fmla="*/ 74260 h 74474"/>
                <a:gd name="connsiteX1" fmla="*/ 43381 w 385624"/>
                <a:gd name="connsiteY1" fmla="*/ 74260 h 74474"/>
                <a:gd name="connsiteX2" fmla="*/ 445 w 385624"/>
                <a:gd name="connsiteY2" fmla="*/ 31590 h 74474"/>
                <a:gd name="connsiteX3" fmla="*/ 445 w 385624"/>
                <a:gd name="connsiteY3" fmla="*/ -214 h 74474"/>
                <a:gd name="connsiteX4" fmla="*/ 386070 w 385624"/>
                <a:gd name="connsiteY4" fmla="*/ -214 h 74474"/>
                <a:gd name="connsiteX5" fmla="*/ 386070 w 385624"/>
                <a:gd name="connsiteY5" fmla="*/ 31590 h 74474"/>
                <a:gd name="connsiteX6" fmla="*/ 343399 w 385624"/>
                <a:gd name="connsiteY6" fmla="*/ 74260 h 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5624" h="74474">
                  <a:moveTo>
                    <a:pt x="343399" y="74260"/>
                  </a:moveTo>
                  <a:lnTo>
                    <a:pt x="43381" y="74260"/>
                  </a:lnTo>
                  <a:cubicBezTo>
                    <a:pt x="19766" y="74260"/>
                    <a:pt x="604" y="55204"/>
                    <a:pt x="445" y="31590"/>
                  </a:cubicBezTo>
                  <a:lnTo>
                    <a:pt x="445" y="-214"/>
                  </a:lnTo>
                  <a:lnTo>
                    <a:pt x="386070" y="-214"/>
                  </a:lnTo>
                  <a:lnTo>
                    <a:pt x="386070" y="31590"/>
                  </a:lnTo>
                  <a:cubicBezTo>
                    <a:pt x="386070" y="55152"/>
                    <a:pt x="366960" y="74260"/>
                    <a:pt x="343399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143" name="Rechteck 22">
            <a:extLst>
              <a:ext uri="{FF2B5EF4-FFF2-40B4-BE49-F238E27FC236}">
                <a16:creationId xmlns:a16="http://schemas.microsoft.com/office/drawing/2014/main" id="{CBFE8A66-761E-4E06-817D-7AF9DB96F34A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1" y="4797292"/>
            <a:ext cx="1703388" cy="1260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26000" bIns="72000" rtlCol="0" anchor="t"/>
          <a:lstStyle/>
          <a:p>
            <a:endParaRPr lang="en-US" sz="1400" b="1">
              <a:solidFill>
                <a:srgbClr val="009FE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6" name="Rechteck 22">
            <a:extLst>
              <a:ext uri="{FF2B5EF4-FFF2-40B4-BE49-F238E27FC236}">
                <a16:creationId xmlns:a16="http://schemas.microsoft.com/office/drawing/2014/main" id="{54AD9F60-B627-4700-A183-E0B33451AB7E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8904592" y="116074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algn="ctr"/>
            <a:endParaRPr lang="en-US" sz="2000" b="1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7" name="Text Placeholder 3">
            <a:extLst>
              <a:ext uri="{FF2B5EF4-FFF2-40B4-BE49-F238E27FC236}">
                <a16:creationId xmlns:a16="http://schemas.microsoft.com/office/drawing/2014/main" id="{8D0DE548-E9D2-4F6A-BE14-E240D13F2AE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32609" y="123275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504000" tIns="288000" rIns="144000" bIns="14400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170" name="Text Placeholder 3">
            <a:extLst>
              <a:ext uri="{FF2B5EF4-FFF2-40B4-BE49-F238E27FC236}">
                <a16:creationId xmlns:a16="http://schemas.microsoft.com/office/drawing/2014/main" id="{E7DA00C2-CB7D-4D2E-9439-3F6D7D89A8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324" y="4948924"/>
            <a:ext cx="1692064" cy="956736"/>
          </a:xfrm>
        </p:spPr>
        <p:txBody>
          <a:bodyPr lIns="0" tIns="0" rIns="144000" bIns="0" anchor="ctr" anchorCtr="0">
            <a:noAutofit/>
          </a:bodyPr>
          <a:lstStyle>
            <a:lvl1pPr algn="r">
              <a:buNone/>
              <a:defRPr sz="4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2" name="Text Placeholder 3">
            <a:extLst>
              <a:ext uri="{FF2B5EF4-FFF2-40B4-BE49-F238E27FC236}">
                <a16:creationId xmlns:a16="http://schemas.microsoft.com/office/drawing/2014/main" id="{76310A97-B96F-4013-8E01-4AC633F792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58144" y="130267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4" name="Rechteck 22">
            <a:extLst>
              <a:ext uri="{FF2B5EF4-FFF2-40B4-BE49-F238E27FC236}">
                <a16:creationId xmlns:a16="http://schemas.microsoft.com/office/drawing/2014/main" id="{FFA0F5B5-F586-4B10-A55A-AE332A18EB45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8904592" y="440110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algn="ctr"/>
            <a:endParaRPr lang="en-US" sz="2000" b="1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5" name="Text Placeholder 3">
            <a:extLst>
              <a:ext uri="{FF2B5EF4-FFF2-40B4-BE49-F238E27FC236}">
                <a16:creationId xmlns:a16="http://schemas.microsoft.com/office/drawing/2014/main" id="{EC7278C5-627E-4081-BE78-7DC81DD7D7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32609" y="447311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lIns="504000" tIns="288000" rIns="144000" bIns="144000" rtlCol="0">
            <a:normAutofit/>
          </a:bodyPr>
          <a:lstStyle>
            <a:lvl1pPr marL="0" indent="0">
              <a:buNone/>
              <a:defRPr lang="en-GB" sz="2000" b="1" dirty="0">
                <a:solidFill>
                  <a:schemeClr val="tx2"/>
                </a:solidFill>
              </a:defRPr>
            </a:lvl1pPr>
          </a:lstStyle>
          <a:p>
            <a:pPr marL="228594" lvl="0" indent="-228594">
              <a:lnSpc>
                <a:spcPct val="100000"/>
              </a:lnSpc>
              <a:spcBef>
                <a:spcPts val="0"/>
              </a:spcBef>
            </a:pPr>
            <a:r>
              <a:rPr lang="en-GB"/>
              <a:t>Description</a:t>
            </a:r>
          </a:p>
        </p:txBody>
      </p:sp>
      <p:sp>
        <p:nvSpPr>
          <p:cNvPr id="176" name="Text Placeholder 3">
            <a:extLst>
              <a:ext uri="{FF2B5EF4-FFF2-40B4-BE49-F238E27FC236}">
                <a16:creationId xmlns:a16="http://schemas.microsoft.com/office/drawing/2014/main" id="{ABF5F8D6-B992-449F-AAEC-B7D513D9B5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58144" y="454303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7" name="Rechteck 22">
            <a:extLst>
              <a:ext uri="{FF2B5EF4-FFF2-40B4-BE49-F238E27FC236}">
                <a16:creationId xmlns:a16="http://schemas.microsoft.com/office/drawing/2014/main" id="{3532B7CB-D4B0-4DB1-B04F-8E1E31CD9522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gray">
          <a:xfrm>
            <a:off x="8904592" y="278092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algn="ctr"/>
            <a:endParaRPr lang="en-US" sz="2000" b="1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8" name="Text Placeholder 3">
            <a:extLst>
              <a:ext uri="{FF2B5EF4-FFF2-40B4-BE49-F238E27FC236}">
                <a16:creationId xmlns:a16="http://schemas.microsoft.com/office/drawing/2014/main" id="{1175D43F-A21E-4E54-8D17-AD2BF60BB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32609" y="285293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lIns="504000" tIns="288000" rIns="144000" bIns="144000" rtlCol="0">
            <a:normAutofit/>
          </a:bodyPr>
          <a:lstStyle>
            <a:lvl1pPr marL="0" indent="0">
              <a:buNone/>
              <a:defRPr lang="en-GB" sz="2000" b="1" dirty="0">
                <a:solidFill>
                  <a:schemeClr val="tx2"/>
                </a:solidFill>
              </a:defRPr>
            </a:lvl1pPr>
          </a:lstStyle>
          <a:p>
            <a:pPr marL="228594" lvl="0" indent="-228594">
              <a:lnSpc>
                <a:spcPct val="100000"/>
              </a:lnSpc>
              <a:spcBef>
                <a:spcPts val="0"/>
              </a:spcBef>
            </a:pPr>
            <a:r>
              <a:rPr lang="en-GB"/>
              <a:t>Description</a:t>
            </a:r>
          </a:p>
        </p:txBody>
      </p:sp>
      <p:sp>
        <p:nvSpPr>
          <p:cNvPr id="179" name="Text Placeholder 3">
            <a:extLst>
              <a:ext uri="{FF2B5EF4-FFF2-40B4-BE49-F238E27FC236}">
                <a16:creationId xmlns:a16="http://schemas.microsoft.com/office/drawing/2014/main" id="{7A047DE7-3B3C-491D-9211-B8A383ABE4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58144" y="292285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66894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2BE1EF-4549-4392-A069-4A855D1DC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45558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06" imgH="306" progId="TCLayout.ActiveDocument.1">
                  <p:embed/>
                </p:oleObj>
              </mc:Choice>
              <mc:Fallback>
                <p:oleObj name="think-cell Folie" r:id="rId8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2BE1EF-4549-4392-A069-4A855D1DC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2">
            <a:extLst>
              <a:ext uri="{FF2B5EF4-FFF2-40B4-BE49-F238E27FC236}">
                <a16:creationId xmlns:a16="http://schemas.microsoft.com/office/drawing/2014/main" id="{1062872F-2FD3-4D2F-B909-6BFA8945A6C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6996789" y="2132856"/>
            <a:ext cx="4499811" cy="3533728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algn="ctr"/>
            <a:endParaRPr lang="en-US" sz="1600" b="1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89CF4FC5-E935-47DF-A98E-266B22FC27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47577" y="2278784"/>
            <a:ext cx="4499811" cy="3526705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648000" tIns="288000" rIns="144000" bIns="14400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  <p:sp>
        <p:nvSpPr>
          <p:cNvPr id="21" name="Rechteck 22">
            <a:extLst>
              <a:ext uri="{FF2B5EF4-FFF2-40B4-BE49-F238E27FC236}">
                <a16:creationId xmlns:a16="http://schemas.microsoft.com/office/drawing/2014/main" id="{F9EAA1AA-785E-461E-951A-CA30714148D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1" y="1178358"/>
            <a:ext cx="6167439" cy="4518895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26000" bIns="72000" rtlCol="0" anchor="t"/>
          <a:lstStyle/>
          <a:p>
            <a:endParaRPr lang="en-US" sz="1400" b="1">
              <a:solidFill>
                <a:srgbClr val="009FE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Graphic 13">
            <a:extLst>
              <a:ext uri="{FF2B5EF4-FFF2-40B4-BE49-F238E27FC236}">
                <a16:creationId xmlns:a16="http://schemas.microsoft.com/office/drawing/2014/main" id="{6BB9F159-479F-418E-AAC8-225C1C6257F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-1" y="1382125"/>
            <a:ext cx="5900888" cy="4207115"/>
          </a:xfrm>
          <a:custGeom>
            <a:avLst/>
            <a:gdLst>
              <a:gd name="connsiteX0" fmla="*/ 2193825 w 2193893"/>
              <a:gd name="connsiteY0" fmla="*/ 44547 h 1432178"/>
              <a:gd name="connsiteX1" fmla="*/ 2193825 w 2193893"/>
              <a:gd name="connsiteY1" fmla="*/ 1386429 h 1432178"/>
              <a:gd name="connsiteX2" fmla="*/ 2148677 w 2193893"/>
              <a:gd name="connsiteY2" fmla="*/ 1431578 h 1432178"/>
              <a:gd name="connsiteX3" fmla="*/ 44985 w 2193893"/>
              <a:gd name="connsiteY3" fmla="*/ 1431578 h 1432178"/>
              <a:gd name="connsiteX4" fmla="*/ 29364 w 2193893"/>
              <a:gd name="connsiteY4" fmla="*/ 1428625 h 1432178"/>
              <a:gd name="connsiteX5" fmla="*/ -68 w 2193893"/>
              <a:gd name="connsiteY5" fmla="*/ 1386429 h 1432178"/>
              <a:gd name="connsiteX6" fmla="*/ -68 w 2193893"/>
              <a:gd name="connsiteY6" fmla="*/ 44547 h 1432178"/>
              <a:gd name="connsiteX7" fmla="*/ 44985 w 2193893"/>
              <a:gd name="connsiteY7" fmla="*/ -601 h 1432178"/>
              <a:gd name="connsiteX8" fmla="*/ 2148677 w 2193893"/>
              <a:gd name="connsiteY8" fmla="*/ -601 h 1432178"/>
              <a:gd name="connsiteX9" fmla="*/ 2165727 w 2193893"/>
              <a:gd name="connsiteY9" fmla="*/ 2733 h 1432178"/>
              <a:gd name="connsiteX10" fmla="*/ 2193825 w 2193893"/>
              <a:gd name="connsiteY10" fmla="*/ 44547 h 1432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93893" h="1432178">
                <a:moveTo>
                  <a:pt x="2193825" y="44547"/>
                </a:moveTo>
                <a:lnTo>
                  <a:pt x="2193825" y="1386429"/>
                </a:lnTo>
                <a:cubicBezTo>
                  <a:pt x="2193825" y="1411366"/>
                  <a:pt x="2173613" y="1431578"/>
                  <a:pt x="2148677" y="1431578"/>
                </a:cubicBezTo>
                <a:lnTo>
                  <a:pt x="44985" y="1431578"/>
                </a:lnTo>
                <a:cubicBezTo>
                  <a:pt x="39639" y="1431588"/>
                  <a:pt x="34340" y="1430578"/>
                  <a:pt x="29364" y="1428625"/>
                </a:cubicBezTo>
                <a:cubicBezTo>
                  <a:pt x="11644" y="1422167"/>
                  <a:pt x="-125" y="1405289"/>
                  <a:pt x="-68" y="1386429"/>
                </a:cubicBezTo>
                <a:lnTo>
                  <a:pt x="-68" y="44547"/>
                </a:lnTo>
                <a:cubicBezTo>
                  <a:pt x="-68" y="19649"/>
                  <a:pt x="20088" y="-554"/>
                  <a:pt x="44985" y="-601"/>
                </a:cubicBezTo>
                <a:lnTo>
                  <a:pt x="2148677" y="-601"/>
                </a:lnTo>
                <a:cubicBezTo>
                  <a:pt x="2154516" y="-582"/>
                  <a:pt x="2160307" y="552"/>
                  <a:pt x="2165727" y="2733"/>
                </a:cubicBezTo>
                <a:cubicBezTo>
                  <a:pt x="2182700" y="9686"/>
                  <a:pt x="2193806" y="26202"/>
                  <a:pt x="2193825" y="44547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23" name="Freeform: Shape 13">
            <a:extLst>
              <a:ext uri="{FF2B5EF4-FFF2-40B4-BE49-F238E27FC236}">
                <a16:creationId xmlns:a16="http://schemas.microsoft.com/office/drawing/2014/main" id="{ECD7AD49-C71B-401A-AB19-5C820276DF31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0" y="1296514"/>
            <a:ext cx="5983421" cy="4580759"/>
          </a:xfrm>
          <a:custGeom>
            <a:avLst/>
            <a:gdLst>
              <a:gd name="connsiteX0" fmla="*/ 0 w 4655840"/>
              <a:gd name="connsiteY0" fmla="*/ 0 h 3564396"/>
              <a:gd name="connsiteX1" fmla="*/ 4489417 w 4655840"/>
              <a:gd name="connsiteY1" fmla="*/ 0 h 3564396"/>
              <a:gd name="connsiteX2" fmla="*/ 4655840 w 4655840"/>
              <a:gd name="connsiteY2" fmla="*/ 166423 h 3564396"/>
              <a:gd name="connsiteX3" fmla="*/ 4655840 w 4655840"/>
              <a:gd name="connsiteY3" fmla="*/ 3326189 h 3564396"/>
              <a:gd name="connsiteX4" fmla="*/ 4489417 w 4655840"/>
              <a:gd name="connsiteY4" fmla="*/ 3492612 h 3564396"/>
              <a:gd name="connsiteX5" fmla="*/ 4151003 w 4655840"/>
              <a:gd name="connsiteY5" fmla="*/ 3492612 h 3564396"/>
              <a:gd name="connsiteX6" fmla="*/ 4151003 w 4655840"/>
              <a:gd name="connsiteY6" fmla="*/ 3517249 h 3564396"/>
              <a:gd name="connsiteX7" fmla="*/ 4103856 w 4655840"/>
              <a:gd name="connsiteY7" fmla="*/ 3564396 h 3564396"/>
              <a:gd name="connsiteX8" fmla="*/ 3874895 w 4655840"/>
              <a:gd name="connsiteY8" fmla="*/ 3564396 h 3564396"/>
              <a:gd name="connsiteX9" fmla="*/ 3827748 w 4655840"/>
              <a:gd name="connsiteY9" fmla="*/ 3517249 h 3564396"/>
              <a:gd name="connsiteX10" fmla="*/ 3827748 w 4655840"/>
              <a:gd name="connsiteY10" fmla="*/ 3492612 h 3564396"/>
              <a:gd name="connsiteX11" fmla="*/ 3682951 w 4655840"/>
              <a:gd name="connsiteY11" fmla="*/ 3492612 h 3564396"/>
              <a:gd name="connsiteX12" fmla="*/ 3682951 w 4655840"/>
              <a:gd name="connsiteY12" fmla="*/ 3517249 h 3564396"/>
              <a:gd name="connsiteX13" fmla="*/ 3635804 w 4655840"/>
              <a:gd name="connsiteY13" fmla="*/ 3564396 h 3564396"/>
              <a:gd name="connsiteX14" fmla="*/ 3406843 w 4655840"/>
              <a:gd name="connsiteY14" fmla="*/ 3564396 h 3564396"/>
              <a:gd name="connsiteX15" fmla="*/ 3359696 w 4655840"/>
              <a:gd name="connsiteY15" fmla="*/ 3517249 h 3564396"/>
              <a:gd name="connsiteX16" fmla="*/ 3359696 w 4655840"/>
              <a:gd name="connsiteY16" fmla="*/ 3492612 h 3564396"/>
              <a:gd name="connsiteX17" fmla="*/ 3179676 w 4655840"/>
              <a:gd name="connsiteY17" fmla="*/ 3492612 h 3564396"/>
              <a:gd name="connsiteX18" fmla="*/ 3179676 w 4655840"/>
              <a:gd name="connsiteY18" fmla="*/ 3517249 h 3564396"/>
              <a:gd name="connsiteX19" fmla="*/ 3132529 w 4655840"/>
              <a:gd name="connsiteY19" fmla="*/ 3564396 h 3564396"/>
              <a:gd name="connsiteX20" fmla="*/ 2903568 w 4655840"/>
              <a:gd name="connsiteY20" fmla="*/ 3564396 h 3564396"/>
              <a:gd name="connsiteX21" fmla="*/ 2856421 w 4655840"/>
              <a:gd name="connsiteY21" fmla="*/ 3517249 h 3564396"/>
              <a:gd name="connsiteX22" fmla="*/ 2856421 w 4655840"/>
              <a:gd name="connsiteY22" fmla="*/ 3492612 h 3564396"/>
              <a:gd name="connsiteX23" fmla="*/ 0 w 4655840"/>
              <a:gd name="connsiteY23" fmla="*/ 3492612 h 3564396"/>
              <a:gd name="connsiteX24" fmla="*/ 0 w 4655840"/>
              <a:gd name="connsiteY24" fmla="*/ 3204356 h 3564396"/>
              <a:gd name="connsiteX25" fmla="*/ 4511825 w 4655840"/>
              <a:gd name="connsiteY25" fmla="*/ 3204356 h 3564396"/>
              <a:gd name="connsiteX26" fmla="*/ 4511825 w 4655840"/>
              <a:gd name="connsiteY26" fmla="*/ 144016 h 3564396"/>
              <a:gd name="connsiteX27" fmla="*/ 0 w 4655840"/>
              <a:gd name="connsiteY27" fmla="*/ 144016 h 3564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655840" h="3564396">
                <a:moveTo>
                  <a:pt x="0" y="0"/>
                </a:moveTo>
                <a:lnTo>
                  <a:pt x="4489417" y="0"/>
                </a:lnTo>
                <a:cubicBezTo>
                  <a:pt x="4581330" y="0"/>
                  <a:pt x="4655840" y="74510"/>
                  <a:pt x="4655840" y="166423"/>
                </a:cubicBezTo>
                <a:lnTo>
                  <a:pt x="4655840" y="3326189"/>
                </a:lnTo>
                <a:cubicBezTo>
                  <a:pt x="4655840" y="3418102"/>
                  <a:pt x="4581330" y="3492612"/>
                  <a:pt x="4489417" y="3492612"/>
                </a:cubicBezTo>
                <a:lnTo>
                  <a:pt x="4151003" y="3492612"/>
                </a:lnTo>
                <a:lnTo>
                  <a:pt x="4151003" y="3517249"/>
                </a:lnTo>
                <a:cubicBezTo>
                  <a:pt x="4151003" y="3543288"/>
                  <a:pt x="4129895" y="3564396"/>
                  <a:pt x="4103856" y="3564396"/>
                </a:cubicBezTo>
                <a:lnTo>
                  <a:pt x="3874895" y="3564396"/>
                </a:lnTo>
                <a:cubicBezTo>
                  <a:pt x="3848856" y="3564396"/>
                  <a:pt x="3827748" y="3543288"/>
                  <a:pt x="3827748" y="3517249"/>
                </a:cubicBezTo>
                <a:lnTo>
                  <a:pt x="3827748" y="3492612"/>
                </a:lnTo>
                <a:lnTo>
                  <a:pt x="3682951" y="3492612"/>
                </a:lnTo>
                <a:lnTo>
                  <a:pt x="3682951" y="3517249"/>
                </a:lnTo>
                <a:cubicBezTo>
                  <a:pt x="3682951" y="3543288"/>
                  <a:pt x="3661843" y="3564396"/>
                  <a:pt x="3635804" y="3564396"/>
                </a:cubicBezTo>
                <a:lnTo>
                  <a:pt x="3406843" y="3564396"/>
                </a:lnTo>
                <a:cubicBezTo>
                  <a:pt x="3380804" y="3564396"/>
                  <a:pt x="3359696" y="3543288"/>
                  <a:pt x="3359696" y="3517249"/>
                </a:cubicBezTo>
                <a:lnTo>
                  <a:pt x="3359696" y="3492612"/>
                </a:lnTo>
                <a:lnTo>
                  <a:pt x="3179676" y="3492612"/>
                </a:lnTo>
                <a:lnTo>
                  <a:pt x="3179676" y="3517249"/>
                </a:lnTo>
                <a:cubicBezTo>
                  <a:pt x="3179676" y="3543288"/>
                  <a:pt x="3158568" y="3564396"/>
                  <a:pt x="3132529" y="3564396"/>
                </a:cubicBezTo>
                <a:lnTo>
                  <a:pt x="2903568" y="3564396"/>
                </a:lnTo>
                <a:cubicBezTo>
                  <a:pt x="2877529" y="3564396"/>
                  <a:pt x="2856421" y="3543288"/>
                  <a:pt x="2856421" y="3517249"/>
                </a:cubicBezTo>
                <a:lnTo>
                  <a:pt x="2856421" y="3492612"/>
                </a:lnTo>
                <a:lnTo>
                  <a:pt x="0" y="3492612"/>
                </a:lnTo>
                <a:lnTo>
                  <a:pt x="0" y="3204356"/>
                </a:lnTo>
                <a:lnTo>
                  <a:pt x="4511825" y="3204356"/>
                </a:lnTo>
                <a:lnTo>
                  <a:pt x="4511825" y="144016"/>
                </a:lnTo>
                <a:lnTo>
                  <a:pt x="0" y="144016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CA6A8F0-846F-4167-B7E5-22F03BA52704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6381991" y="2387324"/>
            <a:ext cx="936000" cy="936000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pl-PL" sz="133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vs</a:t>
            </a:r>
            <a:endParaRPr lang="en-US" sz="133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BAD32E1-C945-46E8-9018-CA00D2F1789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4136" y="2387324"/>
            <a:ext cx="936000" cy="936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2"/>
            </a:solidFill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4681483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öp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2FC641E1-B8E3-413B-904A-2440DD1ED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810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2E1FDC18-783E-41B0-A0D2-168EE16F3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9B581941-4DFC-434A-86AA-4C1552688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24642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DB581137-3902-47A4-B44D-30D80149B4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26214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A208E58-4EC9-4B06-A80F-E2943394BD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27786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19039486-E685-4E1E-90DD-040C8A5525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0601" y="4942047"/>
            <a:ext cx="3036047" cy="956736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AE1C2790-44C2-4FE8-ABB1-D94E61B6F7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7978" y="4943791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56DAC46A-A81D-4BF6-853B-46D6CBA80C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469" y="4942047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9A11213-6B94-4070-B425-F3D4934CE78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42855" y="2647952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45B65062-1C74-4975-AB11-DD0AD47E1D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423504" y="2647952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4" name="Bildplatzhalter 6">
            <a:extLst>
              <a:ext uri="{FF2B5EF4-FFF2-40B4-BE49-F238E27FC236}">
                <a16:creationId xmlns:a16="http://schemas.microsoft.com/office/drawing/2014/main" id="{B8892F41-2115-496D-8249-7B6E9DA4EB7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45996" y="2647952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9927915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3A081B37-E57B-48A2-AC9E-4C379D3B89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692" y="2494279"/>
            <a:ext cx="1044000" cy="1044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297B832-0F11-4184-8F58-81CF859E33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42643" y="1363879"/>
            <a:ext cx="1044000" cy="1044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58F55ED-DB6A-479A-B682-3AB85F09F6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74063" y="2494279"/>
            <a:ext cx="1044000" cy="1044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38F46AA-D2E1-4A9E-A65E-BF6590DA664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97867" y="1363879"/>
            <a:ext cx="1044000" cy="1044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EFAFAC9-23DC-43C2-9ADB-F76F4CE706E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23275" y="4940401"/>
            <a:ext cx="1044000" cy="1044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F36B00A-61CE-4138-B78D-643C3EE90EA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39297" y="3809901"/>
            <a:ext cx="1044000" cy="1044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6F6A55E-7A12-4A71-BB5D-BF0E01662F43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745033" y="4940401"/>
            <a:ext cx="1044000" cy="1044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CFACE34-BF9F-4E6D-9561-D540D2CF7D3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741439" y="3809901"/>
            <a:ext cx="1044000" cy="1044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413FF27-BA52-4273-A50A-F4100BB7D01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8285" y="2494279"/>
            <a:ext cx="1044000" cy="1044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3E35579-64AF-4682-AC8C-8FE30B29E3C7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09600" y="1363879"/>
            <a:ext cx="1044000" cy="1044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BAF70398-B919-4639-9C97-1ED35EDC7B8F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4896520" y="2494279"/>
            <a:ext cx="1044000" cy="1044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B424053-AFD7-4E94-BDBE-483630C81136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896520" y="1363879"/>
            <a:ext cx="1044000" cy="1044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03F1A61-6359-4273-B302-E846FF9B6314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107331" y="2494279"/>
            <a:ext cx="1044000" cy="1044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244A3B7D-14F6-4273-9FA2-ABD4F1E05843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8081504" y="1363879"/>
            <a:ext cx="1044000" cy="1044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22A49A86-9DE1-432A-9A12-E5E664D46A62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712464" y="2494279"/>
            <a:ext cx="1044000" cy="1044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B3ED136C-AFF3-4DE4-B377-1E83FC24B590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741439" y="1363879"/>
            <a:ext cx="1044000" cy="1044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5C6AD4FD-9D36-4DF8-A9BC-E107A62A8260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886881" y="4940401"/>
            <a:ext cx="1044000" cy="1044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9573D5A-5CE8-4ABA-8B10-DFC508FC9C30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811067" y="3809901"/>
            <a:ext cx="1044000" cy="1044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22D77ED-D0EC-480B-8F58-275A5C25D6DB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828451" y="2494279"/>
            <a:ext cx="1044000" cy="10440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6489A5EA-9CCC-4A15-A410-B2026DF0F238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3823547" y="1363879"/>
            <a:ext cx="1044000" cy="10440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DAA6DEA-6635-4248-AF8E-D44D50D7F16B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930881" y="4940401"/>
            <a:ext cx="1044000" cy="1044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AD1B1F4-9400-4057-84EE-557904E5B1A1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4879275" y="3809901"/>
            <a:ext cx="1044000" cy="10440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52C8BE19-2849-4FD4-A169-E1063DB50417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671811" y="3809901"/>
            <a:ext cx="1044000" cy="104400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4AA2F212-9470-496A-87E2-55B8A58EF4FA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678516" y="4940401"/>
            <a:ext cx="1044000" cy="104400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52F79728-FF7D-4B50-9478-536B0CB38F10}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609600" y="3809901"/>
            <a:ext cx="1044000" cy="10440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86CC9833-B63D-4885-89AF-0999C90FF18E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609600" y="4940401"/>
            <a:ext cx="1044000" cy="104400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35E9ECD9-E10E-4CBA-BF52-4670D794D592}"/>
              </a:ext>
            </a:extLst>
          </p:cNvPr>
          <p:cNvPicPr>
            <a:picLocks noChangeAspect="1"/>
          </p:cNvPicPr>
          <p:nvPr userDrawn="1"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8120863" y="3809901"/>
            <a:ext cx="1044000" cy="1044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AE32466E-9C49-47B3-AFAC-9704D0A86BEA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8174448" y="4940401"/>
            <a:ext cx="1044000" cy="1044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D1F1DB1D-D9AE-4D6B-8727-B6E25271C409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9230063" y="4940301"/>
            <a:ext cx="1044000" cy="1044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6FA8DC32-CC3B-41D8-BD42-0BD97DA6806F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9207329" y="3809901"/>
            <a:ext cx="1044000" cy="1044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9E30971E-6883-445B-883D-0CA8B2DA11F8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7024584" y="4940401"/>
            <a:ext cx="1044000" cy="10440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D621922B-D161-4786-8E9A-219FB2CC39E6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7030880" y="3809901"/>
            <a:ext cx="1044000" cy="10440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E0DDB2FD-F90D-41D7-B681-54C600089E09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668464" y="2494279"/>
            <a:ext cx="1044000" cy="10440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844CBE15-A36E-4639-872B-E2DD409D85E5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674513" y="1363879"/>
            <a:ext cx="1044000" cy="10440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12808483-DB95-4D93-A059-578112FE1EA6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7024584" y="1363879"/>
            <a:ext cx="1044000" cy="1044000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4F20F2D2-CEF1-4AF3-91EF-17308C8D6DE9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7002491" y="2494279"/>
            <a:ext cx="1044000" cy="1044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79B1C5B4-72F4-4F4C-89A5-843A94CB6958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5963445" y="1363879"/>
            <a:ext cx="1044000" cy="104400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F6C36229-30EB-405E-8BC0-F70774E67A6A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5923275" y="2494279"/>
            <a:ext cx="1044000" cy="10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6926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3A6CB929-62B2-4FE7-BE1A-CEF9D22900B8}"/>
              </a:ext>
            </a:extLst>
          </p:cNvPr>
          <p:cNvSpPr/>
          <p:nvPr userDrawn="1"/>
        </p:nvSpPr>
        <p:spPr bwMode="gray">
          <a:xfrm>
            <a:off x="6096000" y="0"/>
            <a:ext cx="6096000" cy="6093296"/>
          </a:xfrm>
          <a:custGeom>
            <a:avLst/>
            <a:gdLst>
              <a:gd name="connsiteX0" fmla="*/ 1006390 w 6096000"/>
              <a:gd name="connsiteY0" fmla="*/ 0 h 6093296"/>
              <a:gd name="connsiteX1" fmla="*/ 6096000 w 6096000"/>
              <a:gd name="connsiteY1" fmla="*/ 0 h 6093296"/>
              <a:gd name="connsiteX2" fmla="*/ 6096000 w 6096000"/>
              <a:gd name="connsiteY2" fmla="*/ 5084450 h 6093296"/>
              <a:gd name="connsiteX3" fmla="*/ 5890589 w 6096000"/>
              <a:gd name="connsiteY3" fmla="*/ 5271140 h 6093296"/>
              <a:gd name="connsiteX4" fmla="*/ 3600400 w 6096000"/>
              <a:gd name="connsiteY4" fmla="*/ 6093296 h 6093296"/>
              <a:gd name="connsiteX5" fmla="*/ 0 w 6096000"/>
              <a:gd name="connsiteY5" fmla="*/ 2492896 h 6093296"/>
              <a:gd name="connsiteX6" fmla="*/ 822157 w 6096000"/>
              <a:gd name="connsiteY6" fmla="*/ 202707 h 6093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6093296">
                <a:moveTo>
                  <a:pt x="1006390" y="0"/>
                </a:moveTo>
                <a:lnTo>
                  <a:pt x="6096000" y="0"/>
                </a:lnTo>
                <a:lnTo>
                  <a:pt x="6096000" y="5084450"/>
                </a:lnTo>
                <a:lnTo>
                  <a:pt x="5890589" y="5271140"/>
                </a:lnTo>
                <a:cubicBezTo>
                  <a:pt x="5268227" y="5784758"/>
                  <a:pt x="4470345" y="6093296"/>
                  <a:pt x="3600400" y="6093296"/>
                </a:cubicBezTo>
                <a:cubicBezTo>
                  <a:pt x="1611954" y="6093296"/>
                  <a:pt x="0" y="4481342"/>
                  <a:pt x="0" y="2492896"/>
                </a:cubicBezTo>
                <a:cubicBezTo>
                  <a:pt x="0" y="1622951"/>
                  <a:pt x="308538" y="825069"/>
                  <a:pt x="822157" y="202707"/>
                </a:cubicBezTo>
                <a:close/>
              </a:path>
            </a:pathLst>
          </a:custGeom>
          <a:pattFill prst="wdUpDiag">
            <a:fgClr>
              <a:schemeClr val="tx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>
              <a:solidFill>
                <a:schemeClr val="tx1"/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8C20F7C-3931-4AF5-83F3-F3BA74B04D3D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766761" y="3573016"/>
            <a:ext cx="4896000" cy="792000"/>
          </a:xfrm>
        </p:spPr>
        <p:txBody>
          <a:bodyPr anchor="b" anchorCtr="0">
            <a:noAutofit/>
          </a:bodyPr>
          <a:lstStyle>
            <a:lvl1pPr marL="1588" indent="0" algn="r">
              <a:spcBef>
                <a:spcPts val="0"/>
              </a:spcBef>
              <a:buNone/>
              <a:defRPr sz="3200" b="1" i="0">
                <a:solidFill>
                  <a:schemeClr val="tx1"/>
                </a:solidFill>
                <a:latin typeface="+mn-lt"/>
              </a:defRPr>
            </a:lvl1pPr>
            <a:lvl2pPr marL="1588" indent="0" algn="r">
              <a:spcBef>
                <a:spcPts val="0"/>
              </a:spcBef>
              <a:buNone/>
              <a:defRPr sz="3200" b="1" i="0">
                <a:solidFill>
                  <a:schemeClr val="tx1"/>
                </a:solidFill>
                <a:latin typeface="+mn-lt"/>
              </a:defRPr>
            </a:lvl2pPr>
            <a:lvl3pPr marL="1588" indent="0" algn="r">
              <a:spcBef>
                <a:spcPts val="0"/>
              </a:spcBef>
              <a:buNone/>
              <a:defRPr sz="3200" b="1" i="0">
                <a:solidFill>
                  <a:schemeClr val="tx1"/>
                </a:solidFill>
                <a:latin typeface="+mn-lt"/>
              </a:defRPr>
            </a:lvl3pPr>
            <a:lvl4pPr marL="1588" indent="0" algn="r">
              <a:spcBef>
                <a:spcPts val="0"/>
              </a:spcBef>
              <a:buNone/>
              <a:defRPr sz="3200" b="1" i="0">
                <a:solidFill>
                  <a:schemeClr val="tx1"/>
                </a:solidFill>
                <a:latin typeface="+mn-lt"/>
              </a:defRPr>
            </a:lvl4pPr>
            <a:lvl5pPr marL="1588" indent="0" algn="r">
              <a:spcBef>
                <a:spcPts val="0"/>
              </a:spcBef>
              <a:buNone/>
              <a:defRPr sz="3200" b="1" i="0">
                <a:solidFill>
                  <a:schemeClr val="tx1"/>
                </a:solidFill>
                <a:latin typeface="+mn-lt"/>
              </a:defRPr>
            </a:lvl5pPr>
            <a:lvl6pPr marL="1588" indent="0" algn="r">
              <a:spcBef>
                <a:spcPts val="0"/>
              </a:spcBef>
              <a:buNone/>
              <a:defRPr sz="3200" b="1" i="0">
                <a:solidFill>
                  <a:schemeClr val="tx1"/>
                </a:solidFill>
                <a:latin typeface="+mn-lt"/>
              </a:defRPr>
            </a:lvl6pPr>
            <a:lvl7pPr marL="1588" indent="0" algn="r">
              <a:spcBef>
                <a:spcPts val="0"/>
              </a:spcBef>
              <a:buNone/>
              <a:defRPr sz="3200" b="1" i="0">
                <a:solidFill>
                  <a:schemeClr val="tx1"/>
                </a:solidFill>
                <a:latin typeface="+mn-lt"/>
              </a:defRPr>
            </a:lvl7pPr>
            <a:lvl8pPr marL="1588" indent="0" algn="r">
              <a:spcBef>
                <a:spcPts val="0"/>
              </a:spcBef>
              <a:buNone/>
              <a:defRPr sz="3200" b="1" i="0">
                <a:solidFill>
                  <a:schemeClr val="tx1"/>
                </a:solidFill>
                <a:latin typeface="+mn-lt"/>
              </a:defRPr>
            </a:lvl8pPr>
            <a:lvl9pPr marL="1588" indent="0" algn="r">
              <a:spcBef>
                <a:spcPts val="0"/>
              </a:spcBef>
              <a:buNone/>
              <a:defRPr sz="3200" b="1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/>
              <a:t>Zwei</a:t>
            </a:r>
          </a:p>
          <a:p>
            <a:pPr lvl="2"/>
            <a:r>
              <a:rPr lang="en-GB" err="1"/>
              <a:t>Drei</a:t>
            </a:r>
            <a:endParaRPr lang="en-GB"/>
          </a:p>
          <a:p>
            <a:pPr lvl="3"/>
            <a:r>
              <a:rPr lang="en-GB" err="1"/>
              <a:t>Vier</a:t>
            </a:r>
            <a:endParaRPr lang="en-GB"/>
          </a:p>
          <a:p>
            <a:pPr lvl="4"/>
            <a:r>
              <a:rPr lang="en-GB" err="1"/>
              <a:t>Fünf</a:t>
            </a:r>
            <a:endParaRPr lang="en-GB"/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9AE3397-185F-4DE1-892E-ACCF159F87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096000" y="4113168"/>
            <a:ext cx="1656000" cy="16560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algn="ctr">
              <a:defRPr sz="8000" b="0" i="1">
                <a:solidFill>
                  <a:schemeClr val="tx2"/>
                </a:solidFill>
                <a:latin typeface="Georgia" panose="02040502050405020303" pitchFamily="18" charset="0"/>
              </a:defRPr>
            </a:lvl1pPr>
          </a:lstStyle>
          <a:p>
            <a:r>
              <a:rPr lang="en-GB"/>
              <a:t>01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5A0B2D49-5062-4D7B-9E04-278B089F2FF5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 bwMode="gray">
          <a:xfrm>
            <a:off x="766588" y="4653248"/>
            <a:ext cx="4895999" cy="1008000"/>
          </a:xfrm>
        </p:spPr>
        <p:txBody>
          <a:bodyPr>
            <a:noAutofit/>
          </a:bodyPr>
          <a:lstStyle>
            <a:lvl1pPr marL="1588" indent="0" algn="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1pPr>
            <a:lvl2pPr marL="1588" indent="0" algn="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2pPr>
            <a:lvl3pPr marL="1588" indent="0" algn="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3pPr>
            <a:lvl4pPr marL="1588" indent="0" algn="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4pPr>
            <a:lvl5pPr marL="1588" indent="0" algn="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5pPr>
            <a:lvl6pPr marL="1588" indent="0" algn="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6pPr>
            <a:lvl7pPr marL="1588" indent="0" algn="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7pPr>
            <a:lvl8pPr marL="1588" indent="0" algn="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8pPr>
            <a:lvl9pPr marL="1588" indent="0" algn="r"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err="1"/>
              <a:t>Optionaler</a:t>
            </a:r>
            <a:r>
              <a:rPr lang="en-GB"/>
              <a:t> Text</a:t>
            </a:r>
          </a:p>
          <a:p>
            <a:pPr lvl="1"/>
            <a:r>
              <a:rPr lang="en-GB"/>
              <a:t>Zwei</a:t>
            </a:r>
          </a:p>
          <a:p>
            <a:pPr lvl="2"/>
            <a:r>
              <a:rPr lang="en-GB" err="1"/>
              <a:t>Drei</a:t>
            </a:r>
            <a:endParaRPr lang="en-GB"/>
          </a:p>
          <a:p>
            <a:pPr lvl="3"/>
            <a:r>
              <a:rPr lang="en-GB" err="1"/>
              <a:t>Vier</a:t>
            </a:r>
            <a:endParaRPr lang="en-GB"/>
          </a:p>
          <a:p>
            <a:pPr lvl="4"/>
            <a:r>
              <a:rPr lang="en-GB" err="1"/>
              <a:t>Fünf</a:t>
            </a:r>
            <a:endParaRPr lang="en-GB"/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8482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3" userDrawn="1">
          <p15:clr>
            <a:srgbClr val="5ACBF0"/>
          </p15:clr>
        </p15:guide>
        <p15:guide id="2" orient="horz" pos="3838" userDrawn="1">
          <p15:clr>
            <a:srgbClr val="5ACBF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6" y="2165352"/>
            <a:ext cx="10512407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331734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394" y="1273923"/>
            <a:ext cx="10512407" cy="4888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74412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6" y="2165352"/>
            <a:ext cx="5148245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7AE868-13D3-4D28-A8E4-F635F770F6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7439" y="2168525"/>
            <a:ext cx="5184775" cy="36004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708369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4" y="2165352"/>
            <a:ext cx="6480000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BADABE6-3453-400C-A405-40E92F11ED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16195" y="2165350"/>
            <a:ext cx="3636000" cy="3603625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1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944925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E80C4A-E133-4D33-A918-188A03B20D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8AF9B4-D53B-48CC-B719-350DF8315F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504899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+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DF379BB-6F1E-48A1-82A2-A4C682BB95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89" y="1624013"/>
            <a:ext cx="10514012" cy="41449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972157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66621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öp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2FC641E1-B8E3-413B-904A-2440DD1ED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810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2E1FDC18-783E-41B0-A0D2-168EE16F3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9B581941-4DFC-434A-86AA-4C1552688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24642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DB581137-3902-47A4-B44D-30D80149B4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26214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A208E58-4EC9-4B06-A80F-E2943394BD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27786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19039486-E685-4E1E-90DD-040C8A5525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0601" y="4942047"/>
            <a:ext cx="3036047" cy="956736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AE1C2790-44C2-4FE8-ABB1-D94E61B6F7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7978" y="4943791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56DAC46A-A81D-4BF6-853B-46D6CBA80C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469" y="4942047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9A11213-6B94-4070-B425-F3D4934CE78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42855" y="2647952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45B65062-1C74-4975-AB11-DD0AD47E1D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423504" y="2647952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4" name="Bildplatzhalter 6">
            <a:extLst>
              <a:ext uri="{FF2B5EF4-FFF2-40B4-BE49-F238E27FC236}">
                <a16:creationId xmlns:a16="http://schemas.microsoft.com/office/drawing/2014/main" id="{B8892F41-2115-496D-8249-7B6E9DA4EB7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45996" y="2647952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01872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3A081B37-E57B-48A2-AC9E-4C379D3B89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692" y="2494279"/>
            <a:ext cx="1044000" cy="1044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297B832-0F11-4184-8F58-81CF859E33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42643" y="1363879"/>
            <a:ext cx="1044000" cy="1044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58F55ED-DB6A-479A-B682-3AB85F09F6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74063" y="2494279"/>
            <a:ext cx="1044000" cy="1044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38F46AA-D2E1-4A9E-A65E-BF6590DA664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97867" y="1363879"/>
            <a:ext cx="1044000" cy="1044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EFAFAC9-23DC-43C2-9ADB-F76F4CE706E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23275" y="4940401"/>
            <a:ext cx="1044000" cy="1044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F36B00A-61CE-4138-B78D-643C3EE90EA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39297" y="3809901"/>
            <a:ext cx="1044000" cy="1044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6F6A55E-7A12-4A71-BB5D-BF0E01662F43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745033" y="4940401"/>
            <a:ext cx="1044000" cy="1044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CFACE34-BF9F-4E6D-9561-D540D2CF7D3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741439" y="3809901"/>
            <a:ext cx="1044000" cy="1044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413FF27-BA52-4273-A50A-F4100BB7D01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8285" y="2494279"/>
            <a:ext cx="1044000" cy="1044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3E35579-64AF-4682-AC8C-8FE30B29E3C7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09600" y="1363879"/>
            <a:ext cx="1044000" cy="1044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BAF70398-B919-4639-9C97-1ED35EDC7B8F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4896520" y="2494279"/>
            <a:ext cx="1044000" cy="1044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B424053-AFD7-4E94-BDBE-483630C81136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896520" y="1363879"/>
            <a:ext cx="1044000" cy="1044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03F1A61-6359-4273-B302-E846FF9B6314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107331" y="2494279"/>
            <a:ext cx="1044000" cy="1044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244A3B7D-14F6-4273-9FA2-ABD4F1E05843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8081504" y="1363879"/>
            <a:ext cx="1044000" cy="1044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22A49A86-9DE1-432A-9A12-E5E664D46A62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712464" y="2494279"/>
            <a:ext cx="1044000" cy="1044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B3ED136C-AFF3-4DE4-B377-1E83FC24B590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741439" y="1363879"/>
            <a:ext cx="1044000" cy="1044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5C6AD4FD-9D36-4DF8-A9BC-E107A62A8260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886881" y="4940401"/>
            <a:ext cx="1044000" cy="1044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9573D5A-5CE8-4ABA-8B10-DFC508FC9C30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811067" y="3809901"/>
            <a:ext cx="1044000" cy="1044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22D77ED-D0EC-480B-8F58-275A5C25D6DB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828451" y="2494279"/>
            <a:ext cx="1044000" cy="10440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6489A5EA-9CCC-4A15-A410-B2026DF0F238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3823547" y="1363879"/>
            <a:ext cx="1044000" cy="10440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DAA6DEA-6635-4248-AF8E-D44D50D7F16B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930881" y="4940401"/>
            <a:ext cx="1044000" cy="1044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AD1B1F4-9400-4057-84EE-557904E5B1A1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4879275" y="3809901"/>
            <a:ext cx="1044000" cy="10440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52C8BE19-2849-4FD4-A169-E1063DB50417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671811" y="3809901"/>
            <a:ext cx="1044000" cy="104400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4AA2F212-9470-496A-87E2-55B8A58EF4FA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678516" y="4940401"/>
            <a:ext cx="1044000" cy="104400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52F79728-FF7D-4B50-9478-536B0CB38F10}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609600" y="3809901"/>
            <a:ext cx="1044000" cy="10440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86CC9833-B63D-4885-89AF-0999C90FF18E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609600" y="4940401"/>
            <a:ext cx="1044000" cy="104400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35E9ECD9-E10E-4CBA-BF52-4670D794D592}"/>
              </a:ext>
            </a:extLst>
          </p:cNvPr>
          <p:cNvPicPr>
            <a:picLocks noChangeAspect="1"/>
          </p:cNvPicPr>
          <p:nvPr userDrawn="1"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8120863" y="3809901"/>
            <a:ext cx="1044000" cy="1044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AE32466E-9C49-47B3-AFAC-9704D0A86BEA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8174448" y="4940401"/>
            <a:ext cx="1044000" cy="1044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D1F1DB1D-D9AE-4D6B-8727-B6E25271C409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9230063" y="4940301"/>
            <a:ext cx="1044000" cy="1044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6FA8DC32-CC3B-41D8-BD42-0BD97DA6806F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9207329" y="3809901"/>
            <a:ext cx="1044000" cy="1044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9E30971E-6883-445B-883D-0CA8B2DA11F8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7024584" y="4940401"/>
            <a:ext cx="1044000" cy="10440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D621922B-D161-4786-8E9A-219FB2CC39E6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7030880" y="3809901"/>
            <a:ext cx="1044000" cy="10440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E0DDB2FD-F90D-41D7-B681-54C600089E09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668464" y="2494279"/>
            <a:ext cx="1044000" cy="10440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844CBE15-A36E-4639-872B-E2DD409D85E5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674513" y="1363879"/>
            <a:ext cx="1044000" cy="10440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12808483-DB95-4D93-A059-578112FE1EA6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7024584" y="1363879"/>
            <a:ext cx="1044000" cy="1044000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4F20F2D2-CEF1-4AF3-91EF-17308C8D6DE9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7002491" y="2494279"/>
            <a:ext cx="1044000" cy="1044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79B1C5B4-72F4-4F4C-89A5-843A94CB6958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5963445" y="1363879"/>
            <a:ext cx="1044000" cy="104400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F6C36229-30EB-405E-8BC0-F70774E67A6A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5923275" y="2494279"/>
            <a:ext cx="1044000" cy="10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9421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ild 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9762067" y="0"/>
            <a:ext cx="2032000" cy="11345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prstClr val="white"/>
              </a:solidFill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>
            <a:off x="0" y="-1708441"/>
            <a:ext cx="12192000" cy="1364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>
                <a:solidFill>
                  <a:prstClr val="black"/>
                </a:solidFill>
                <a:latin typeface="Georgia"/>
                <a:cs typeface="Georgia"/>
              </a:rPr>
              <a:t>Formatfüllendes Bild als Folien-Hintergrund einfügen:</a:t>
            </a:r>
          </a:p>
          <a:p>
            <a:pPr algn="ctr"/>
            <a:endParaRPr lang="de-DE" sz="1067" b="1">
              <a:solidFill>
                <a:prstClr val="black"/>
              </a:solidFill>
              <a:latin typeface="Georgia"/>
              <a:cs typeface="Georgia"/>
            </a:endParaRPr>
          </a:p>
          <a:p>
            <a:pPr algn="ctr">
              <a:defRPr/>
            </a:pPr>
            <a:r>
              <a:rPr lang="de-DE" sz="2400">
                <a:solidFill>
                  <a:prstClr val="black"/>
                </a:solidFill>
                <a:latin typeface="Georgia"/>
                <a:cs typeface="Georgia"/>
              </a:rPr>
              <a:t>Rechtsklick auf Folie &gt; Hintergrund formatieren &gt; Bild o. Struktur &gt; Bild auswählen</a:t>
            </a:r>
          </a:p>
          <a:p>
            <a:pPr algn="ctr"/>
            <a:r>
              <a:rPr lang="de-DE" sz="2400" i="1">
                <a:solidFill>
                  <a:prstClr val="black"/>
                </a:solidFill>
                <a:latin typeface="Georgia"/>
                <a:cs typeface="Georgia"/>
              </a:rPr>
              <a:t>Die Bilder müsse ein Seitenverhältnis von 16:9 haben!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2540" y="123384"/>
            <a:ext cx="2176969" cy="791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2673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17BBB15-227F-45AD-B6FB-4F74D670DA84}"/>
              </a:ext>
            </a:extLst>
          </p:cNvPr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16F491-7036-4E36-99B9-2ACCC7252B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D75F291-B186-437B-9BD4-204251E78F38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7F6D6D5-AAF7-451F-93D6-110A6B6E0B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67408" y="1196752"/>
            <a:ext cx="7920880" cy="360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1pPr>
            <a:lvl2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2pPr>
            <a:lvl3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3pPr>
            <a:lvl4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9pPr>
          </a:lstStyle>
          <a:p>
            <a:pPr lvl="0"/>
            <a:r>
              <a:rPr lang="en-GB" err="1"/>
              <a:t>Optionale</a:t>
            </a:r>
            <a:r>
              <a:rPr lang="en-GB"/>
              <a:t> Sub-Headline</a:t>
            </a:r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D89F4942-862B-4AE7-8DC3-8DEA19E507D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9E0217F-FCB1-472F-B800-3ADB7999D72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771734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 userDrawn="1">
          <p15:clr>
            <a:srgbClr val="5ACBF0"/>
          </p15:clr>
        </p15:guide>
        <p15:guide id="2" orient="horz" pos="3838" userDrawn="1">
          <p15:clr>
            <a:srgbClr val="5ACBF0"/>
          </p15:clr>
        </p15:guide>
        <p15:guide id="3" pos="7197" userDrawn="1">
          <p15:clr>
            <a:srgbClr val="5ACBF0"/>
          </p15:clr>
        </p15:guide>
        <p15:guide id="4" pos="483" userDrawn="1">
          <p15:clr>
            <a:srgbClr val="5ACBF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2BE1EF-4549-4392-A069-4A855D1DC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470692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06" imgH="306" progId="TCLayout.ActiveDocument.1">
                  <p:embed/>
                </p:oleObj>
              </mc:Choice>
              <mc:Fallback>
                <p:oleObj name="think-cell Folie" r:id="rId10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2BE1EF-4549-4392-A069-4A855D1DC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" name="Graphic 162">
            <a:extLst>
              <a:ext uri="{FF2B5EF4-FFF2-40B4-BE49-F238E27FC236}">
                <a16:creationId xmlns:a16="http://schemas.microsoft.com/office/drawing/2014/main" id="{1BA2B2E2-D574-4136-AC8E-1A4AE34A4EF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gray">
          <a:xfrm>
            <a:off x="623393" y="1160463"/>
            <a:ext cx="7662811" cy="4676116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0A788415-4FB8-4D5E-ABE7-08B6C31D6AFA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 bwMode="gray">
          <a:xfrm>
            <a:off x="5799773" y="5782337"/>
            <a:ext cx="1869416" cy="80683"/>
            <a:chOff x="9918885" y="5769260"/>
            <a:chExt cx="1568735" cy="67705"/>
          </a:xfrm>
        </p:grpSpPr>
        <p:sp>
          <p:nvSpPr>
            <p:cNvPr id="90" name="Graphic 8">
              <a:extLst>
                <a:ext uri="{FF2B5EF4-FFF2-40B4-BE49-F238E27FC236}">
                  <a16:creationId xmlns:a16="http://schemas.microsoft.com/office/drawing/2014/main" id="{C51955D0-F746-4E0D-9D2E-46995CCE6489}"/>
                </a:ext>
              </a:extLst>
            </p:cNvPr>
            <p:cNvSpPr/>
            <p:nvPr/>
          </p:nvSpPr>
          <p:spPr bwMode="gray">
            <a:xfrm>
              <a:off x="10510440" y="5769260"/>
              <a:ext cx="385624" cy="67705"/>
            </a:xfrm>
            <a:custGeom>
              <a:avLst/>
              <a:gdLst>
                <a:gd name="connsiteX0" fmla="*/ 343134 w 385624"/>
                <a:gd name="connsiteY0" fmla="*/ 74260 h 74475"/>
                <a:gd name="connsiteX1" fmla="*/ 43380 w 385624"/>
                <a:gd name="connsiteY1" fmla="*/ 74260 h 74475"/>
                <a:gd name="connsiteX2" fmla="*/ 445 w 385624"/>
                <a:gd name="connsiteY2" fmla="*/ 31855 h 74475"/>
                <a:gd name="connsiteX3" fmla="*/ 445 w 385624"/>
                <a:gd name="connsiteY3" fmla="*/ 31590 h 74475"/>
                <a:gd name="connsiteX4" fmla="*/ 445 w 385624"/>
                <a:gd name="connsiteY4" fmla="*/ -214 h 74475"/>
                <a:gd name="connsiteX5" fmla="*/ 386069 w 385624"/>
                <a:gd name="connsiteY5" fmla="*/ -214 h 74475"/>
                <a:gd name="connsiteX6" fmla="*/ 386069 w 385624"/>
                <a:gd name="connsiteY6" fmla="*/ 31590 h 74475"/>
                <a:gd name="connsiteX7" fmla="*/ 343399 w 385624"/>
                <a:gd name="connsiteY7" fmla="*/ 74260 h 74475"/>
                <a:gd name="connsiteX8" fmla="*/ 343134 w 385624"/>
                <a:gd name="connsiteY8" fmla="*/ 74260 h 7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624" h="74475">
                  <a:moveTo>
                    <a:pt x="343134" y="74260"/>
                  </a:moveTo>
                  <a:lnTo>
                    <a:pt x="43380" y="74260"/>
                  </a:lnTo>
                  <a:cubicBezTo>
                    <a:pt x="19819" y="74419"/>
                    <a:pt x="604" y="55416"/>
                    <a:pt x="445" y="31855"/>
                  </a:cubicBezTo>
                  <a:cubicBezTo>
                    <a:pt x="445" y="31775"/>
                    <a:pt x="445" y="31669"/>
                    <a:pt x="445" y="31590"/>
                  </a:cubicBezTo>
                  <a:lnTo>
                    <a:pt x="445" y="-214"/>
                  </a:lnTo>
                  <a:lnTo>
                    <a:pt x="386069" y="-214"/>
                  </a:lnTo>
                  <a:lnTo>
                    <a:pt x="386069" y="31590"/>
                  </a:lnTo>
                  <a:cubicBezTo>
                    <a:pt x="386069" y="55152"/>
                    <a:pt x="366960" y="74260"/>
                    <a:pt x="343399" y="74260"/>
                  </a:cubicBezTo>
                  <a:cubicBezTo>
                    <a:pt x="343319" y="74260"/>
                    <a:pt x="343213" y="74260"/>
                    <a:pt x="343134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91" name="Graphic 8">
              <a:extLst>
                <a:ext uri="{FF2B5EF4-FFF2-40B4-BE49-F238E27FC236}">
                  <a16:creationId xmlns:a16="http://schemas.microsoft.com/office/drawing/2014/main" id="{C5750388-5D98-494D-90ED-EC3ABB1117EC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11101996" y="5769260"/>
              <a:ext cx="385624" cy="67705"/>
            </a:xfrm>
            <a:custGeom>
              <a:avLst/>
              <a:gdLst>
                <a:gd name="connsiteX0" fmla="*/ 343133 w 385624"/>
                <a:gd name="connsiteY0" fmla="*/ 74260 h 74475"/>
                <a:gd name="connsiteX1" fmla="*/ 43380 w 385624"/>
                <a:gd name="connsiteY1" fmla="*/ 74260 h 74475"/>
                <a:gd name="connsiteX2" fmla="*/ 445 w 385624"/>
                <a:gd name="connsiteY2" fmla="*/ 31855 h 74475"/>
                <a:gd name="connsiteX3" fmla="*/ 445 w 385624"/>
                <a:gd name="connsiteY3" fmla="*/ 31590 h 74475"/>
                <a:gd name="connsiteX4" fmla="*/ 445 w 385624"/>
                <a:gd name="connsiteY4" fmla="*/ -214 h 74475"/>
                <a:gd name="connsiteX5" fmla="*/ 386069 w 385624"/>
                <a:gd name="connsiteY5" fmla="*/ -214 h 74475"/>
                <a:gd name="connsiteX6" fmla="*/ 386069 w 385624"/>
                <a:gd name="connsiteY6" fmla="*/ 31590 h 74475"/>
                <a:gd name="connsiteX7" fmla="*/ 343399 w 385624"/>
                <a:gd name="connsiteY7" fmla="*/ 74260 h 74475"/>
                <a:gd name="connsiteX8" fmla="*/ 343133 w 385624"/>
                <a:gd name="connsiteY8" fmla="*/ 74260 h 7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624" h="74475">
                  <a:moveTo>
                    <a:pt x="343133" y="74260"/>
                  </a:moveTo>
                  <a:lnTo>
                    <a:pt x="43380" y="74260"/>
                  </a:lnTo>
                  <a:cubicBezTo>
                    <a:pt x="19819" y="74419"/>
                    <a:pt x="604" y="55416"/>
                    <a:pt x="445" y="31855"/>
                  </a:cubicBezTo>
                  <a:cubicBezTo>
                    <a:pt x="445" y="31775"/>
                    <a:pt x="445" y="31669"/>
                    <a:pt x="445" y="31590"/>
                  </a:cubicBezTo>
                  <a:lnTo>
                    <a:pt x="445" y="-214"/>
                  </a:lnTo>
                  <a:lnTo>
                    <a:pt x="386069" y="-214"/>
                  </a:lnTo>
                  <a:lnTo>
                    <a:pt x="386069" y="31590"/>
                  </a:lnTo>
                  <a:cubicBezTo>
                    <a:pt x="386069" y="55152"/>
                    <a:pt x="366960" y="74260"/>
                    <a:pt x="343399" y="74260"/>
                  </a:cubicBezTo>
                  <a:cubicBezTo>
                    <a:pt x="343319" y="74260"/>
                    <a:pt x="343213" y="74260"/>
                    <a:pt x="343133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92" name="Graphic 8">
              <a:extLst>
                <a:ext uri="{FF2B5EF4-FFF2-40B4-BE49-F238E27FC236}">
                  <a16:creationId xmlns:a16="http://schemas.microsoft.com/office/drawing/2014/main" id="{C825B732-0A00-44B2-83C8-4B12124089AE}"/>
                </a:ext>
              </a:extLst>
            </p:cNvPr>
            <p:cNvSpPr/>
            <p:nvPr/>
          </p:nvSpPr>
          <p:spPr bwMode="gray">
            <a:xfrm>
              <a:off x="9918885" y="5769260"/>
              <a:ext cx="385624" cy="67704"/>
            </a:xfrm>
            <a:custGeom>
              <a:avLst/>
              <a:gdLst>
                <a:gd name="connsiteX0" fmla="*/ 343399 w 385624"/>
                <a:gd name="connsiteY0" fmla="*/ 74260 h 74474"/>
                <a:gd name="connsiteX1" fmla="*/ 43381 w 385624"/>
                <a:gd name="connsiteY1" fmla="*/ 74260 h 74474"/>
                <a:gd name="connsiteX2" fmla="*/ 445 w 385624"/>
                <a:gd name="connsiteY2" fmla="*/ 31590 h 74474"/>
                <a:gd name="connsiteX3" fmla="*/ 445 w 385624"/>
                <a:gd name="connsiteY3" fmla="*/ -214 h 74474"/>
                <a:gd name="connsiteX4" fmla="*/ 386070 w 385624"/>
                <a:gd name="connsiteY4" fmla="*/ -214 h 74474"/>
                <a:gd name="connsiteX5" fmla="*/ 386070 w 385624"/>
                <a:gd name="connsiteY5" fmla="*/ 31590 h 74474"/>
                <a:gd name="connsiteX6" fmla="*/ 343399 w 385624"/>
                <a:gd name="connsiteY6" fmla="*/ 74260 h 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5624" h="74474">
                  <a:moveTo>
                    <a:pt x="343399" y="74260"/>
                  </a:moveTo>
                  <a:lnTo>
                    <a:pt x="43381" y="74260"/>
                  </a:lnTo>
                  <a:cubicBezTo>
                    <a:pt x="19766" y="74260"/>
                    <a:pt x="604" y="55204"/>
                    <a:pt x="445" y="31590"/>
                  </a:cubicBezTo>
                  <a:lnTo>
                    <a:pt x="445" y="-214"/>
                  </a:lnTo>
                  <a:lnTo>
                    <a:pt x="386070" y="-214"/>
                  </a:lnTo>
                  <a:lnTo>
                    <a:pt x="386070" y="31590"/>
                  </a:lnTo>
                  <a:cubicBezTo>
                    <a:pt x="386070" y="55152"/>
                    <a:pt x="366960" y="74260"/>
                    <a:pt x="343399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143" name="Rechteck 22">
            <a:extLst>
              <a:ext uri="{FF2B5EF4-FFF2-40B4-BE49-F238E27FC236}">
                <a16:creationId xmlns:a16="http://schemas.microsoft.com/office/drawing/2014/main" id="{CBFE8A66-761E-4E06-817D-7AF9DB96F34A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1" y="4797292"/>
            <a:ext cx="1703388" cy="1260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26000" bIns="72000" rtlCol="0" anchor="t"/>
          <a:lstStyle/>
          <a:p>
            <a:endParaRPr lang="en-US" sz="1400" b="1">
              <a:solidFill>
                <a:srgbClr val="009FE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6" name="Rechteck 22">
            <a:extLst>
              <a:ext uri="{FF2B5EF4-FFF2-40B4-BE49-F238E27FC236}">
                <a16:creationId xmlns:a16="http://schemas.microsoft.com/office/drawing/2014/main" id="{54AD9F60-B627-4700-A183-E0B33451AB7E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8904592" y="116074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algn="ctr"/>
            <a:endParaRPr lang="en-US" sz="2000" b="1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7" name="Text Placeholder 3">
            <a:extLst>
              <a:ext uri="{FF2B5EF4-FFF2-40B4-BE49-F238E27FC236}">
                <a16:creationId xmlns:a16="http://schemas.microsoft.com/office/drawing/2014/main" id="{8D0DE548-E9D2-4F6A-BE14-E240D13F2AE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32609" y="123275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504000" tIns="288000" rIns="144000" bIns="14400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170" name="Text Placeholder 3">
            <a:extLst>
              <a:ext uri="{FF2B5EF4-FFF2-40B4-BE49-F238E27FC236}">
                <a16:creationId xmlns:a16="http://schemas.microsoft.com/office/drawing/2014/main" id="{E7DA00C2-CB7D-4D2E-9439-3F6D7D89A8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324" y="4948924"/>
            <a:ext cx="1692064" cy="956736"/>
          </a:xfrm>
        </p:spPr>
        <p:txBody>
          <a:bodyPr lIns="0" tIns="0" rIns="144000" bIns="0" anchor="ctr" anchorCtr="0">
            <a:noAutofit/>
          </a:bodyPr>
          <a:lstStyle>
            <a:lvl1pPr algn="r">
              <a:buNone/>
              <a:defRPr sz="4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2" name="Text Placeholder 3">
            <a:extLst>
              <a:ext uri="{FF2B5EF4-FFF2-40B4-BE49-F238E27FC236}">
                <a16:creationId xmlns:a16="http://schemas.microsoft.com/office/drawing/2014/main" id="{76310A97-B96F-4013-8E01-4AC633F792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58144" y="130267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4" name="Rechteck 22">
            <a:extLst>
              <a:ext uri="{FF2B5EF4-FFF2-40B4-BE49-F238E27FC236}">
                <a16:creationId xmlns:a16="http://schemas.microsoft.com/office/drawing/2014/main" id="{FFA0F5B5-F586-4B10-A55A-AE332A18EB45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8904592" y="440110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algn="ctr"/>
            <a:endParaRPr lang="en-US" sz="2000" b="1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5" name="Text Placeholder 3">
            <a:extLst>
              <a:ext uri="{FF2B5EF4-FFF2-40B4-BE49-F238E27FC236}">
                <a16:creationId xmlns:a16="http://schemas.microsoft.com/office/drawing/2014/main" id="{EC7278C5-627E-4081-BE78-7DC81DD7D7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32609" y="447311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lIns="504000" tIns="288000" rIns="144000" bIns="144000" rtlCol="0">
            <a:normAutofit/>
          </a:bodyPr>
          <a:lstStyle>
            <a:lvl1pPr marL="0" indent="0">
              <a:buNone/>
              <a:defRPr lang="en-GB" sz="2000" b="1" dirty="0">
                <a:solidFill>
                  <a:schemeClr val="tx2"/>
                </a:solidFill>
              </a:defRPr>
            </a:lvl1pPr>
          </a:lstStyle>
          <a:p>
            <a:pPr marL="228594" lvl="0" indent="-228594">
              <a:lnSpc>
                <a:spcPct val="100000"/>
              </a:lnSpc>
              <a:spcBef>
                <a:spcPts val="0"/>
              </a:spcBef>
            </a:pPr>
            <a:r>
              <a:rPr lang="en-GB"/>
              <a:t>Description</a:t>
            </a:r>
          </a:p>
        </p:txBody>
      </p:sp>
      <p:sp>
        <p:nvSpPr>
          <p:cNvPr id="176" name="Text Placeholder 3">
            <a:extLst>
              <a:ext uri="{FF2B5EF4-FFF2-40B4-BE49-F238E27FC236}">
                <a16:creationId xmlns:a16="http://schemas.microsoft.com/office/drawing/2014/main" id="{ABF5F8D6-B992-449F-AAEC-B7D513D9B5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58144" y="454303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7" name="Rechteck 22">
            <a:extLst>
              <a:ext uri="{FF2B5EF4-FFF2-40B4-BE49-F238E27FC236}">
                <a16:creationId xmlns:a16="http://schemas.microsoft.com/office/drawing/2014/main" id="{3532B7CB-D4B0-4DB1-B04F-8E1E31CD9522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gray">
          <a:xfrm>
            <a:off x="8904592" y="278092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algn="ctr"/>
            <a:endParaRPr lang="en-US" sz="2000" b="1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8" name="Text Placeholder 3">
            <a:extLst>
              <a:ext uri="{FF2B5EF4-FFF2-40B4-BE49-F238E27FC236}">
                <a16:creationId xmlns:a16="http://schemas.microsoft.com/office/drawing/2014/main" id="{1175D43F-A21E-4E54-8D17-AD2BF60BB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32609" y="285293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lIns="504000" tIns="288000" rIns="144000" bIns="144000" rtlCol="0">
            <a:normAutofit/>
          </a:bodyPr>
          <a:lstStyle>
            <a:lvl1pPr marL="0" indent="0">
              <a:buNone/>
              <a:defRPr lang="en-GB" sz="2000" b="1" dirty="0">
                <a:solidFill>
                  <a:schemeClr val="tx2"/>
                </a:solidFill>
              </a:defRPr>
            </a:lvl1pPr>
          </a:lstStyle>
          <a:p>
            <a:pPr marL="228594" lvl="0" indent="-228594">
              <a:lnSpc>
                <a:spcPct val="100000"/>
              </a:lnSpc>
              <a:spcBef>
                <a:spcPts val="0"/>
              </a:spcBef>
            </a:pPr>
            <a:r>
              <a:rPr lang="en-GB"/>
              <a:t>Description</a:t>
            </a:r>
          </a:p>
        </p:txBody>
      </p:sp>
      <p:sp>
        <p:nvSpPr>
          <p:cNvPr id="179" name="Text Placeholder 3">
            <a:extLst>
              <a:ext uri="{FF2B5EF4-FFF2-40B4-BE49-F238E27FC236}">
                <a16:creationId xmlns:a16="http://schemas.microsoft.com/office/drawing/2014/main" id="{7A047DE7-3B3C-491D-9211-B8A383ABE4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58144" y="292285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6500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5" y="2165350"/>
            <a:ext cx="10512407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091986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669478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393" y="1273923"/>
            <a:ext cx="10512407" cy="4888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754315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5" y="2165350"/>
            <a:ext cx="5148245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0030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7AE868-13D3-4D28-A8E4-F635F770F6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7438" y="2168525"/>
            <a:ext cx="5184775" cy="36004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566248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4" y="2165350"/>
            <a:ext cx="6480000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0030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BADABE6-3453-400C-A405-40E92F11ED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16195" y="2165349"/>
            <a:ext cx="3636000" cy="3603625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28612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E80C4A-E133-4D33-A918-188A03B20D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8AF9B4-D53B-48CC-B719-350DF8315F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0030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875506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+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DF379BB-6F1E-48A1-82A2-A4C682BB95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88" y="1624013"/>
            <a:ext cx="10514012" cy="41449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340806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776783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öp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2FC641E1-B8E3-413B-904A-2440DD1ED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810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2E1FDC18-783E-41B0-A0D2-168EE16F3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9B581941-4DFC-434A-86AA-4C1552688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24641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DB581137-3902-47A4-B44D-30D80149B4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26213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A208E58-4EC9-4B06-A80F-E2943394BD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27785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19039486-E685-4E1E-90DD-040C8A5525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0599" y="4942047"/>
            <a:ext cx="3036047" cy="956736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AE1C2790-44C2-4FE8-ABB1-D94E61B6F7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7976" y="4943791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56DAC46A-A81D-4BF6-853B-46D6CBA80C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467" y="4942047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9A11213-6B94-4070-B425-F3D4934CE78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42854" y="2647950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45B65062-1C74-4975-AB11-DD0AD47E1D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423504" y="2647950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4" name="Bildplatzhalter 6">
            <a:extLst>
              <a:ext uri="{FF2B5EF4-FFF2-40B4-BE49-F238E27FC236}">
                <a16:creationId xmlns:a16="http://schemas.microsoft.com/office/drawing/2014/main" id="{B8892F41-2115-496D-8249-7B6E9DA4EB7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45995" y="2647950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334460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3A081B37-E57B-48A2-AC9E-4C379D3B89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692" y="2494278"/>
            <a:ext cx="1044000" cy="1044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297B832-0F11-4184-8F58-81CF859E33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42643" y="1363878"/>
            <a:ext cx="1044000" cy="1044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58F55ED-DB6A-479A-B682-3AB85F09F6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74062" y="2494278"/>
            <a:ext cx="1044000" cy="1044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38F46AA-D2E1-4A9E-A65E-BF6590DA664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97867" y="1363878"/>
            <a:ext cx="1044000" cy="1044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EFAFAC9-23DC-43C2-9ADB-F76F4CE706E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23275" y="4940401"/>
            <a:ext cx="1044000" cy="1044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F36B00A-61CE-4138-B78D-643C3EE90EA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39297" y="3809901"/>
            <a:ext cx="1044000" cy="1044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6F6A55E-7A12-4A71-BB5D-BF0E01662F43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745033" y="4940401"/>
            <a:ext cx="1044000" cy="1044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CFACE34-BF9F-4E6D-9561-D540D2CF7D3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741438" y="3809901"/>
            <a:ext cx="1044000" cy="1044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413FF27-BA52-4273-A50A-F4100BB7D01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8285" y="2494278"/>
            <a:ext cx="1044000" cy="1044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3E35579-64AF-4682-AC8C-8FE30B29E3C7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09600" y="1363878"/>
            <a:ext cx="1044000" cy="1044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BAF70398-B919-4639-9C97-1ED35EDC7B8F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4896520" y="2494278"/>
            <a:ext cx="1044000" cy="1044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B424053-AFD7-4E94-BDBE-483630C81136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896520" y="1363878"/>
            <a:ext cx="1044000" cy="1044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03F1A61-6359-4273-B302-E846FF9B6314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107331" y="2494278"/>
            <a:ext cx="1044000" cy="1044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244A3B7D-14F6-4273-9FA2-ABD4F1E05843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8081504" y="1363878"/>
            <a:ext cx="1044000" cy="1044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22A49A86-9DE1-432A-9A12-E5E664D46A62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712464" y="2494278"/>
            <a:ext cx="1044000" cy="1044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B3ED136C-AFF3-4DE4-B377-1E83FC24B590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741438" y="1363878"/>
            <a:ext cx="1044000" cy="1044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5C6AD4FD-9D36-4DF8-A9BC-E107A62A8260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886881" y="4940401"/>
            <a:ext cx="1044000" cy="1044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9573D5A-5CE8-4ABA-8B10-DFC508FC9C30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811066" y="3809901"/>
            <a:ext cx="1044000" cy="1044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22D77ED-D0EC-480B-8F58-275A5C25D6DB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828450" y="2494278"/>
            <a:ext cx="1044000" cy="10440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6489A5EA-9CCC-4A15-A410-B2026DF0F238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3823546" y="1363878"/>
            <a:ext cx="1044000" cy="10440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DAA6DEA-6635-4248-AF8E-D44D50D7F16B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930881" y="4940401"/>
            <a:ext cx="1044000" cy="1044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AD1B1F4-9400-4057-84EE-557904E5B1A1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4879275" y="3809901"/>
            <a:ext cx="1044000" cy="10440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52C8BE19-2849-4FD4-A169-E1063DB50417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671810" y="3809901"/>
            <a:ext cx="1044000" cy="104400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4AA2F212-9470-496A-87E2-55B8A58EF4FA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678516" y="4940401"/>
            <a:ext cx="1044000" cy="104400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52F79728-FF7D-4B50-9478-536B0CB38F10}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609600" y="3809901"/>
            <a:ext cx="1044000" cy="10440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86CC9833-B63D-4885-89AF-0999C90FF18E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609600" y="4940401"/>
            <a:ext cx="1044000" cy="104400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35E9ECD9-E10E-4CBA-BF52-4670D794D592}"/>
              </a:ext>
            </a:extLst>
          </p:cNvPr>
          <p:cNvPicPr>
            <a:picLocks noChangeAspect="1"/>
          </p:cNvPicPr>
          <p:nvPr userDrawn="1"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8120863" y="3809901"/>
            <a:ext cx="1044000" cy="1044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AE32466E-9C49-47B3-AFAC-9704D0A86BEA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8174448" y="4940401"/>
            <a:ext cx="1044000" cy="1044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D1F1DB1D-D9AE-4D6B-8727-B6E25271C409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9230062" y="4940301"/>
            <a:ext cx="1044000" cy="1044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6FA8DC32-CC3B-41D8-BD42-0BD97DA6806F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9207329" y="3809901"/>
            <a:ext cx="1044000" cy="1044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9E30971E-6883-445B-883D-0CA8B2DA11F8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7024584" y="4940401"/>
            <a:ext cx="1044000" cy="10440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D621922B-D161-4786-8E9A-219FB2CC39E6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7030880" y="3809901"/>
            <a:ext cx="1044000" cy="10440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E0DDB2FD-F90D-41D7-B681-54C600089E09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668464" y="2494278"/>
            <a:ext cx="1044000" cy="10440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844CBE15-A36E-4639-872B-E2DD409D85E5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674513" y="1363878"/>
            <a:ext cx="1044000" cy="10440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12808483-DB95-4D93-A059-578112FE1EA6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7024584" y="1363878"/>
            <a:ext cx="1044000" cy="1044000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4F20F2D2-CEF1-4AF3-91EF-17308C8D6DE9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7002490" y="2494278"/>
            <a:ext cx="1044000" cy="1044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79B1C5B4-72F4-4F4C-89A5-843A94CB6958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5963445" y="1363878"/>
            <a:ext cx="1044000" cy="104400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F6C36229-30EB-405E-8BC0-F70774E67A6A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5923275" y="2494278"/>
            <a:ext cx="1044000" cy="10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9888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muc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17BBB15-227F-45AD-B6FB-4F74D670DA84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766763" y="1556792"/>
            <a:ext cx="10658475" cy="4536033"/>
          </a:xfrm>
        </p:spPr>
        <p:txBody>
          <a:bodyPr/>
          <a:lstStyle/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16F491-7036-4E36-99B9-2ACCC7252B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D75F291-B186-437B-9BD4-204251E78F38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A3399081-B28F-4ABA-A951-E201993748F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5099518-9EB8-41FF-B9F6-30B2EC8991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90180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 userDrawn="1">
          <p15:clr>
            <a:srgbClr val="5ACBF0"/>
          </p15:clr>
        </p15:guide>
        <p15:guide id="2" orient="horz" pos="3838" userDrawn="1">
          <p15:clr>
            <a:srgbClr val="5ACBF0"/>
          </p15:clr>
        </p15:guide>
        <p15:guide id="3" pos="7197" userDrawn="1">
          <p15:clr>
            <a:srgbClr val="5ACBF0"/>
          </p15:clr>
        </p15:guide>
        <p15:guide id="4" pos="483" userDrawn="1">
          <p15:clr>
            <a:srgbClr val="5ACBF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ild 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9762067" y="0"/>
            <a:ext cx="2032000" cy="11345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>
            <a:off x="0" y="-1708441"/>
            <a:ext cx="12192000" cy="1364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Formatfüllendes Bild als Folien-Hintergrund einfügen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67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/>
              <a:ea typeface="+mn-ea"/>
              <a:cs typeface="Georgia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Rechtsklick auf Folie &gt; Hintergrund formatieren &gt; Bild o. Struktur &gt; Bild auswähl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Die Bilder müsse ein Seitenverhältnis von 16:9 haben!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2538" y="123384"/>
            <a:ext cx="2176969" cy="791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00435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2BE1EF-4549-4392-A069-4A855D1DC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2295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06" imgH="306" progId="TCLayout.ActiveDocument.1">
                  <p:embed/>
                </p:oleObj>
              </mc:Choice>
              <mc:Fallback>
                <p:oleObj name="think-cell Folie" r:id="rId10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2BE1EF-4549-4392-A069-4A855D1DC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" name="Graphic 162">
            <a:extLst>
              <a:ext uri="{FF2B5EF4-FFF2-40B4-BE49-F238E27FC236}">
                <a16:creationId xmlns:a16="http://schemas.microsoft.com/office/drawing/2014/main" id="{1BA2B2E2-D574-4136-AC8E-1A4AE34A4EF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gray">
          <a:xfrm>
            <a:off x="623392" y="1160463"/>
            <a:ext cx="7662811" cy="4676116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1" u="none" strike="noStrike" kern="1200" cap="none" spc="0" normalizeH="0" baseline="0" noProof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t>TechTeam – IDSA Deck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0A788415-4FB8-4D5E-ABE7-08B6C31D6AFA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 bwMode="gray">
          <a:xfrm>
            <a:off x="5799774" y="5782338"/>
            <a:ext cx="1869416" cy="80682"/>
            <a:chOff x="9918885" y="5769260"/>
            <a:chExt cx="1568735" cy="67705"/>
          </a:xfrm>
        </p:grpSpPr>
        <p:sp>
          <p:nvSpPr>
            <p:cNvPr id="90" name="Graphic 8">
              <a:extLst>
                <a:ext uri="{FF2B5EF4-FFF2-40B4-BE49-F238E27FC236}">
                  <a16:creationId xmlns:a16="http://schemas.microsoft.com/office/drawing/2014/main" id="{C51955D0-F746-4E0D-9D2E-46995CCE6489}"/>
                </a:ext>
              </a:extLst>
            </p:cNvPr>
            <p:cNvSpPr/>
            <p:nvPr/>
          </p:nvSpPr>
          <p:spPr bwMode="gray">
            <a:xfrm>
              <a:off x="10510440" y="5769260"/>
              <a:ext cx="385624" cy="67705"/>
            </a:xfrm>
            <a:custGeom>
              <a:avLst/>
              <a:gdLst>
                <a:gd name="connsiteX0" fmla="*/ 343134 w 385624"/>
                <a:gd name="connsiteY0" fmla="*/ 74260 h 74475"/>
                <a:gd name="connsiteX1" fmla="*/ 43380 w 385624"/>
                <a:gd name="connsiteY1" fmla="*/ 74260 h 74475"/>
                <a:gd name="connsiteX2" fmla="*/ 445 w 385624"/>
                <a:gd name="connsiteY2" fmla="*/ 31855 h 74475"/>
                <a:gd name="connsiteX3" fmla="*/ 445 w 385624"/>
                <a:gd name="connsiteY3" fmla="*/ 31590 h 74475"/>
                <a:gd name="connsiteX4" fmla="*/ 445 w 385624"/>
                <a:gd name="connsiteY4" fmla="*/ -214 h 74475"/>
                <a:gd name="connsiteX5" fmla="*/ 386069 w 385624"/>
                <a:gd name="connsiteY5" fmla="*/ -214 h 74475"/>
                <a:gd name="connsiteX6" fmla="*/ 386069 w 385624"/>
                <a:gd name="connsiteY6" fmla="*/ 31590 h 74475"/>
                <a:gd name="connsiteX7" fmla="*/ 343399 w 385624"/>
                <a:gd name="connsiteY7" fmla="*/ 74260 h 74475"/>
                <a:gd name="connsiteX8" fmla="*/ 343134 w 385624"/>
                <a:gd name="connsiteY8" fmla="*/ 74260 h 7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624" h="74475">
                  <a:moveTo>
                    <a:pt x="343134" y="74260"/>
                  </a:moveTo>
                  <a:lnTo>
                    <a:pt x="43380" y="74260"/>
                  </a:lnTo>
                  <a:cubicBezTo>
                    <a:pt x="19819" y="74419"/>
                    <a:pt x="604" y="55416"/>
                    <a:pt x="445" y="31855"/>
                  </a:cubicBezTo>
                  <a:cubicBezTo>
                    <a:pt x="445" y="31775"/>
                    <a:pt x="445" y="31669"/>
                    <a:pt x="445" y="31590"/>
                  </a:cubicBezTo>
                  <a:lnTo>
                    <a:pt x="445" y="-214"/>
                  </a:lnTo>
                  <a:lnTo>
                    <a:pt x="386069" y="-214"/>
                  </a:lnTo>
                  <a:lnTo>
                    <a:pt x="386069" y="31590"/>
                  </a:lnTo>
                  <a:cubicBezTo>
                    <a:pt x="386069" y="55152"/>
                    <a:pt x="366960" y="74260"/>
                    <a:pt x="343399" y="74260"/>
                  </a:cubicBezTo>
                  <a:cubicBezTo>
                    <a:pt x="343319" y="74260"/>
                    <a:pt x="343213" y="74260"/>
                    <a:pt x="343134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Graphic 8">
              <a:extLst>
                <a:ext uri="{FF2B5EF4-FFF2-40B4-BE49-F238E27FC236}">
                  <a16:creationId xmlns:a16="http://schemas.microsoft.com/office/drawing/2014/main" id="{C5750388-5D98-494D-90ED-EC3ABB1117EC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11101996" y="5769260"/>
              <a:ext cx="385624" cy="67705"/>
            </a:xfrm>
            <a:custGeom>
              <a:avLst/>
              <a:gdLst>
                <a:gd name="connsiteX0" fmla="*/ 343133 w 385624"/>
                <a:gd name="connsiteY0" fmla="*/ 74260 h 74475"/>
                <a:gd name="connsiteX1" fmla="*/ 43380 w 385624"/>
                <a:gd name="connsiteY1" fmla="*/ 74260 h 74475"/>
                <a:gd name="connsiteX2" fmla="*/ 445 w 385624"/>
                <a:gd name="connsiteY2" fmla="*/ 31855 h 74475"/>
                <a:gd name="connsiteX3" fmla="*/ 445 w 385624"/>
                <a:gd name="connsiteY3" fmla="*/ 31590 h 74475"/>
                <a:gd name="connsiteX4" fmla="*/ 445 w 385624"/>
                <a:gd name="connsiteY4" fmla="*/ -214 h 74475"/>
                <a:gd name="connsiteX5" fmla="*/ 386069 w 385624"/>
                <a:gd name="connsiteY5" fmla="*/ -214 h 74475"/>
                <a:gd name="connsiteX6" fmla="*/ 386069 w 385624"/>
                <a:gd name="connsiteY6" fmla="*/ 31590 h 74475"/>
                <a:gd name="connsiteX7" fmla="*/ 343399 w 385624"/>
                <a:gd name="connsiteY7" fmla="*/ 74260 h 74475"/>
                <a:gd name="connsiteX8" fmla="*/ 343133 w 385624"/>
                <a:gd name="connsiteY8" fmla="*/ 74260 h 7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624" h="74475">
                  <a:moveTo>
                    <a:pt x="343133" y="74260"/>
                  </a:moveTo>
                  <a:lnTo>
                    <a:pt x="43380" y="74260"/>
                  </a:lnTo>
                  <a:cubicBezTo>
                    <a:pt x="19819" y="74419"/>
                    <a:pt x="604" y="55416"/>
                    <a:pt x="445" y="31855"/>
                  </a:cubicBezTo>
                  <a:cubicBezTo>
                    <a:pt x="445" y="31775"/>
                    <a:pt x="445" y="31669"/>
                    <a:pt x="445" y="31590"/>
                  </a:cubicBezTo>
                  <a:lnTo>
                    <a:pt x="445" y="-214"/>
                  </a:lnTo>
                  <a:lnTo>
                    <a:pt x="386069" y="-214"/>
                  </a:lnTo>
                  <a:lnTo>
                    <a:pt x="386069" y="31590"/>
                  </a:lnTo>
                  <a:cubicBezTo>
                    <a:pt x="386069" y="55152"/>
                    <a:pt x="366960" y="74260"/>
                    <a:pt x="343399" y="74260"/>
                  </a:cubicBezTo>
                  <a:cubicBezTo>
                    <a:pt x="343319" y="74260"/>
                    <a:pt x="343213" y="74260"/>
                    <a:pt x="343133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Graphic 8">
              <a:extLst>
                <a:ext uri="{FF2B5EF4-FFF2-40B4-BE49-F238E27FC236}">
                  <a16:creationId xmlns:a16="http://schemas.microsoft.com/office/drawing/2014/main" id="{C825B732-0A00-44B2-83C8-4B12124089AE}"/>
                </a:ext>
              </a:extLst>
            </p:cNvPr>
            <p:cNvSpPr/>
            <p:nvPr/>
          </p:nvSpPr>
          <p:spPr bwMode="gray">
            <a:xfrm>
              <a:off x="9918885" y="5769260"/>
              <a:ext cx="385624" cy="67704"/>
            </a:xfrm>
            <a:custGeom>
              <a:avLst/>
              <a:gdLst>
                <a:gd name="connsiteX0" fmla="*/ 343399 w 385624"/>
                <a:gd name="connsiteY0" fmla="*/ 74260 h 74474"/>
                <a:gd name="connsiteX1" fmla="*/ 43381 w 385624"/>
                <a:gd name="connsiteY1" fmla="*/ 74260 h 74474"/>
                <a:gd name="connsiteX2" fmla="*/ 445 w 385624"/>
                <a:gd name="connsiteY2" fmla="*/ 31590 h 74474"/>
                <a:gd name="connsiteX3" fmla="*/ 445 w 385624"/>
                <a:gd name="connsiteY3" fmla="*/ -214 h 74474"/>
                <a:gd name="connsiteX4" fmla="*/ 386070 w 385624"/>
                <a:gd name="connsiteY4" fmla="*/ -214 h 74474"/>
                <a:gd name="connsiteX5" fmla="*/ 386070 w 385624"/>
                <a:gd name="connsiteY5" fmla="*/ 31590 h 74474"/>
                <a:gd name="connsiteX6" fmla="*/ 343399 w 385624"/>
                <a:gd name="connsiteY6" fmla="*/ 74260 h 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5624" h="74474">
                  <a:moveTo>
                    <a:pt x="343399" y="74260"/>
                  </a:moveTo>
                  <a:lnTo>
                    <a:pt x="43381" y="74260"/>
                  </a:lnTo>
                  <a:cubicBezTo>
                    <a:pt x="19766" y="74260"/>
                    <a:pt x="604" y="55204"/>
                    <a:pt x="445" y="31590"/>
                  </a:cubicBezTo>
                  <a:lnTo>
                    <a:pt x="445" y="-214"/>
                  </a:lnTo>
                  <a:lnTo>
                    <a:pt x="386070" y="-214"/>
                  </a:lnTo>
                  <a:lnTo>
                    <a:pt x="386070" y="31590"/>
                  </a:lnTo>
                  <a:cubicBezTo>
                    <a:pt x="386070" y="55152"/>
                    <a:pt x="366960" y="74260"/>
                    <a:pt x="343399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3" name="Rechteck 22">
            <a:extLst>
              <a:ext uri="{FF2B5EF4-FFF2-40B4-BE49-F238E27FC236}">
                <a16:creationId xmlns:a16="http://schemas.microsoft.com/office/drawing/2014/main" id="{CBFE8A66-761E-4E06-817D-7AF9DB96F34A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4797292"/>
            <a:ext cx="1703388" cy="1260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26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9FE3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6" name="Rechteck 22">
            <a:extLst>
              <a:ext uri="{FF2B5EF4-FFF2-40B4-BE49-F238E27FC236}">
                <a16:creationId xmlns:a16="http://schemas.microsoft.com/office/drawing/2014/main" id="{54AD9F60-B627-4700-A183-E0B33451AB7E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8904592" y="116074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263482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67" name="Text Placeholder 3">
            <a:extLst>
              <a:ext uri="{FF2B5EF4-FFF2-40B4-BE49-F238E27FC236}">
                <a16:creationId xmlns:a16="http://schemas.microsoft.com/office/drawing/2014/main" id="{8D0DE548-E9D2-4F6A-BE14-E240D13F2AE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32609" y="123275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504000" tIns="288000" rIns="144000" bIns="14400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170" name="Text Placeholder 3">
            <a:extLst>
              <a:ext uri="{FF2B5EF4-FFF2-40B4-BE49-F238E27FC236}">
                <a16:creationId xmlns:a16="http://schemas.microsoft.com/office/drawing/2014/main" id="{E7DA00C2-CB7D-4D2E-9439-3F6D7D89A8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324" y="4948924"/>
            <a:ext cx="1692064" cy="956736"/>
          </a:xfrm>
        </p:spPr>
        <p:txBody>
          <a:bodyPr lIns="0" tIns="0" rIns="144000" bIns="0" anchor="ctr" anchorCtr="0">
            <a:noAutofit/>
          </a:bodyPr>
          <a:lstStyle>
            <a:lvl1pPr algn="r">
              <a:buNone/>
              <a:defRPr sz="4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2" name="Text Placeholder 3">
            <a:extLst>
              <a:ext uri="{FF2B5EF4-FFF2-40B4-BE49-F238E27FC236}">
                <a16:creationId xmlns:a16="http://schemas.microsoft.com/office/drawing/2014/main" id="{76310A97-B96F-4013-8E01-4AC633F792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58144" y="130267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4" name="Rechteck 22">
            <a:extLst>
              <a:ext uri="{FF2B5EF4-FFF2-40B4-BE49-F238E27FC236}">
                <a16:creationId xmlns:a16="http://schemas.microsoft.com/office/drawing/2014/main" id="{FFA0F5B5-F586-4B10-A55A-AE332A18EB45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8904592" y="440110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263482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75" name="Text Placeholder 3">
            <a:extLst>
              <a:ext uri="{FF2B5EF4-FFF2-40B4-BE49-F238E27FC236}">
                <a16:creationId xmlns:a16="http://schemas.microsoft.com/office/drawing/2014/main" id="{EC7278C5-627E-4081-BE78-7DC81DD7D7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32609" y="447311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lIns="504000" tIns="288000" rIns="144000" bIns="144000" rtlCol="0">
            <a:normAutofit/>
          </a:bodyPr>
          <a:lstStyle>
            <a:lvl1pPr marL="0" indent="0">
              <a:buNone/>
              <a:defRPr lang="en-GB" sz="2000" b="1" dirty="0">
                <a:solidFill>
                  <a:schemeClr val="tx2"/>
                </a:solidFill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en-GB"/>
              <a:t>Description</a:t>
            </a:r>
          </a:p>
        </p:txBody>
      </p:sp>
      <p:sp>
        <p:nvSpPr>
          <p:cNvPr id="176" name="Text Placeholder 3">
            <a:extLst>
              <a:ext uri="{FF2B5EF4-FFF2-40B4-BE49-F238E27FC236}">
                <a16:creationId xmlns:a16="http://schemas.microsoft.com/office/drawing/2014/main" id="{ABF5F8D6-B992-449F-AAEC-B7D513D9B5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58144" y="454303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7" name="Rechteck 22">
            <a:extLst>
              <a:ext uri="{FF2B5EF4-FFF2-40B4-BE49-F238E27FC236}">
                <a16:creationId xmlns:a16="http://schemas.microsoft.com/office/drawing/2014/main" id="{3532B7CB-D4B0-4DB1-B04F-8E1E31CD9522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gray">
          <a:xfrm>
            <a:off x="8904592" y="278092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263482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78" name="Text Placeholder 3">
            <a:extLst>
              <a:ext uri="{FF2B5EF4-FFF2-40B4-BE49-F238E27FC236}">
                <a16:creationId xmlns:a16="http://schemas.microsoft.com/office/drawing/2014/main" id="{1175D43F-A21E-4E54-8D17-AD2BF60BB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32609" y="285293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lIns="504000" tIns="288000" rIns="144000" bIns="144000" rtlCol="0">
            <a:normAutofit/>
          </a:bodyPr>
          <a:lstStyle>
            <a:lvl1pPr marL="0" indent="0">
              <a:buNone/>
              <a:defRPr lang="en-GB" sz="2000" b="1" dirty="0">
                <a:solidFill>
                  <a:schemeClr val="tx2"/>
                </a:solidFill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en-GB"/>
              <a:t>Description</a:t>
            </a:r>
          </a:p>
        </p:txBody>
      </p:sp>
      <p:sp>
        <p:nvSpPr>
          <p:cNvPr id="179" name="Text Placeholder 3">
            <a:extLst>
              <a:ext uri="{FF2B5EF4-FFF2-40B4-BE49-F238E27FC236}">
                <a16:creationId xmlns:a16="http://schemas.microsoft.com/office/drawing/2014/main" id="{7A047DE7-3B3C-491D-9211-B8A383ABE4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58144" y="292285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871420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 Headline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405909" y="2286002"/>
            <a:ext cx="11244224" cy="3545447"/>
          </a:xfrm>
          <a:prstGeom prst="rect">
            <a:avLst/>
          </a:prstGeom>
        </p:spPr>
        <p:txBody>
          <a:bodyPr anchor="t">
            <a:normAutofit/>
          </a:bodyPr>
          <a:lstStyle>
            <a:lvl1pPr marL="239173" marR="0" indent="-239173" algn="l" defTabSz="60957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133" baseline="0">
                <a:solidFill>
                  <a:schemeClr val="tx1"/>
                </a:solidFill>
              </a:defRPr>
            </a:lvl1pPr>
            <a:lvl2pPr marL="478343" indent="-228589">
              <a:buFont typeface="Symbol" panose="05050102010706020507" pitchFamily="18" charset="2"/>
              <a:buChar char="-"/>
              <a:defRPr sz="1600" baseline="0">
                <a:solidFill>
                  <a:schemeClr val="tx1"/>
                </a:solidFill>
              </a:defRPr>
            </a:lvl2pPr>
            <a:lvl3pPr marL="598988" indent="-110061">
              <a:buFont typeface="Arial" panose="020B0604020202020204" pitchFamily="34" charset="0"/>
              <a:buChar char="•"/>
              <a:defRPr sz="1067">
                <a:solidFill>
                  <a:schemeClr val="tx1"/>
                </a:solidFill>
              </a:defRPr>
            </a:lvl3pPr>
            <a:lvl4pPr marL="833926" indent="-256104">
              <a:buFont typeface="Symbol" panose="05050102010706020507" pitchFamily="18" charset="2"/>
              <a:buChar char="-"/>
              <a:tabLst>
                <a:tab pos="833926" algn="l"/>
                <a:tab pos="1077330" algn="l"/>
              </a:tabLst>
              <a:defRPr sz="1867" baseline="0">
                <a:solidFill>
                  <a:schemeClr val="tx1"/>
                </a:solidFill>
              </a:defRPr>
            </a:lvl4pPr>
            <a:lvl5pPr marL="1077330" indent="-262453">
              <a:buFont typeface="Georgia" panose="02040502050405020303" pitchFamily="18" charset="0"/>
              <a:buChar char="»"/>
              <a:defRPr sz="1867">
                <a:solidFill>
                  <a:schemeClr val="tx1"/>
                </a:solidFill>
              </a:defRPr>
            </a:lvl5pPr>
            <a:lvl6pPr marL="304784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n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marL="0" marR="0" lvl="0" indent="0" algn="l" defTabSz="60957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de-DE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2134" y="206264"/>
            <a:ext cx="2091868" cy="759961"/>
          </a:xfrm>
          <a:prstGeom prst="rect">
            <a:avLst/>
          </a:prstGeom>
        </p:spPr>
      </p:pic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412275" y="694267"/>
            <a:ext cx="9349792" cy="795868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24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err="1"/>
              <a:t>Theme</a:t>
            </a:r>
            <a:r>
              <a:rPr lang="de-DE"/>
              <a:t> Headline</a:t>
            </a:r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06401" y="1490136"/>
            <a:ext cx="9355667" cy="79586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24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err="1"/>
              <a:t>Subtitle</a:t>
            </a:r>
            <a:endParaRPr lang="de-DE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406385" y="6310788"/>
            <a:ext cx="23958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BA2E3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www.internationaldataspaces.org</a:t>
            </a:r>
          </a:p>
        </p:txBody>
      </p:sp>
      <p:sp>
        <p:nvSpPr>
          <p:cNvPr id="15" name="Foliennummernplatzhalter 5"/>
          <p:cNvSpPr txBox="1">
            <a:spLocks/>
          </p:cNvSpPr>
          <p:nvPr userDrawn="1"/>
        </p:nvSpPr>
        <p:spPr>
          <a:xfrm>
            <a:off x="10351213" y="6360589"/>
            <a:ext cx="1409417" cy="226313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/</a:t>
            </a:r>
            <a:r>
              <a:rPr kumimoji="0" lang="de-DE" sz="1067" b="0" i="0" u="none" strike="noStrike" kern="1200" cap="none" spc="0" normalizeH="0" baseline="0" noProof="0">
                <a:ln>
                  <a:noFill/>
                </a:ln>
                <a:solidFill>
                  <a:srgbClr val="0092D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fld id="{DA28A8A7-1DE1-8B42-B22F-FAE404325B08}" type="slidenum">
              <a:rPr kumimoji="0" lang="de-DE" sz="1067" b="0" i="0" u="none" strike="noStrike" kern="1200" cap="none" spc="0" normalizeH="0" baseline="0" noProof="0" smtClean="0">
                <a:ln>
                  <a:noFill/>
                </a:ln>
                <a:solidFill>
                  <a:srgbClr val="0BA2E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67" b="0" i="0" u="none" strike="noStrike" kern="1200" cap="none" spc="0" normalizeH="0" baseline="0" noProof="0">
              <a:ln>
                <a:noFill/>
              </a:ln>
              <a:solidFill>
                <a:srgbClr val="0BA2E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2113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29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emenheadline 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10351212" y="6318418"/>
            <a:ext cx="1409417" cy="226313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>
                <a:solidFill>
                  <a:schemeClr val="tx1"/>
                </a:solidFill>
              </a:rPr>
              <a:t>//</a:t>
            </a:r>
            <a:r>
              <a:rPr lang="de-DE" sz="1067"/>
              <a:t> </a:t>
            </a:r>
            <a:fld id="{DA28A8A7-1DE1-8B42-B22F-FAE404325B08}" type="slidenum">
              <a:rPr lang="de-DE" sz="1067" smtClean="0"/>
              <a:t>‹#›</a:t>
            </a:fld>
            <a:endParaRPr lang="de-DE" sz="1067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12275" y="694267"/>
            <a:ext cx="9349792" cy="795868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24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err="1"/>
              <a:t>ThemenHeadline</a:t>
            </a:r>
            <a:endParaRPr lang="de-DE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06400" y="1490134"/>
            <a:ext cx="9355667" cy="79586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24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err="1"/>
              <a:t>Subthema</a:t>
            </a:r>
            <a:endParaRPr lang="de-DE"/>
          </a:p>
        </p:txBody>
      </p:sp>
      <p:sp>
        <p:nvSpPr>
          <p:cNvPr id="9" name="Textfeld 8"/>
          <p:cNvSpPr txBox="1"/>
          <p:nvPr userDrawn="1"/>
        </p:nvSpPr>
        <p:spPr>
          <a:xfrm>
            <a:off x="406385" y="6280469"/>
            <a:ext cx="2402291" cy="389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33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  <a:p>
            <a:endParaRPr lang="de-DE" sz="1000">
              <a:solidFill>
                <a:srgbClr val="0092D2"/>
              </a:solidFill>
              <a:latin typeface="Verdana"/>
              <a:cs typeface="Verdana"/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5773" y="375495"/>
            <a:ext cx="1644587" cy="490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05281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9FD2AF-0E30-4B52-9674-D475A9DE1D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856A205-2035-4412-AADC-29EB3E74D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D75F291-B186-437B-9BD4-204251E78F38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B8E0EFC-E370-4114-AEE8-D6B92840DD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67408" y="1196752"/>
            <a:ext cx="7920880" cy="360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1pPr>
            <a:lvl2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2pPr>
            <a:lvl3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3pPr>
            <a:lvl4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9pPr>
          </a:lstStyle>
          <a:p>
            <a:pPr lvl="0"/>
            <a:r>
              <a:rPr lang="en-GB" err="1"/>
              <a:t>Optionale</a:t>
            </a:r>
            <a:r>
              <a:rPr lang="en-GB"/>
              <a:t> Sub-Headline</a:t>
            </a:r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172FE0-F09B-46EA-905A-FA9C5FEC62F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4821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197">
          <p15:clr>
            <a:srgbClr val="5ACBF0"/>
          </p15:clr>
        </p15:guide>
        <p15:guide id="2" orient="horz" pos="3838">
          <p15:clr>
            <a:srgbClr val="5ACBF0"/>
          </p15:clr>
        </p15:guide>
        <p15:guide id="3" pos="483">
          <p15:clr>
            <a:srgbClr val="5ACBF0"/>
          </p15:clr>
        </p15:guide>
        <p15:guide id="4" orient="horz" pos="1344">
          <p15:clr>
            <a:srgbClr val="5ACBF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7" y="2165353"/>
            <a:ext cx="10512407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2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228864511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395" y="1273923"/>
            <a:ext cx="10512407" cy="4888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2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173206081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7" y="2165353"/>
            <a:ext cx="5148245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7AE868-13D3-4D28-A8E4-F635F770F6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7441" y="2168525"/>
            <a:ext cx="5184775" cy="36004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2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28909364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4" y="2165353"/>
            <a:ext cx="6480000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BADABE6-3453-400C-A405-40E92F11ED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16195" y="2165352"/>
            <a:ext cx="3636000" cy="3603625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2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3161438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E80C4A-E133-4D33-A918-188A03B20D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8AF9B4-D53B-48CC-B719-350DF8315F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178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2019066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17BBB15-227F-45AD-B6FB-4F74D670DA84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766763" y="2133599"/>
            <a:ext cx="5184775" cy="3959226"/>
          </a:xfrm>
        </p:spPr>
        <p:txBody>
          <a:bodyPr/>
          <a:lstStyle/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FFC7DAC-89A5-4B89-BC9A-1717238D6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16F491-7036-4E36-99B9-2ACCC7252B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D75F291-B186-437B-9BD4-204251E78F38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7F6D6D5-AAF7-451F-93D6-110A6B6E0B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67408" y="1196752"/>
            <a:ext cx="7920880" cy="360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1pPr>
            <a:lvl2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2pPr>
            <a:lvl3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3pPr>
            <a:lvl4pPr marL="0" indent="0">
              <a:spcBef>
                <a:spcPts val="0"/>
              </a:spcBef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i="1">
                <a:solidFill>
                  <a:schemeClr val="tx2"/>
                </a:solidFill>
                <a:latin typeface="Georgia" panose="02040502050405020303" pitchFamily="18" charset="0"/>
              </a:defRPr>
            </a:lvl9pPr>
          </a:lstStyle>
          <a:p>
            <a:pPr lvl="0"/>
            <a:r>
              <a:rPr lang="en-GB" err="1"/>
              <a:t>Optionale</a:t>
            </a:r>
            <a:r>
              <a:rPr lang="en-GB"/>
              <a:t> Sub-Headline</a:t>
            </a:r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C294606-190B-4890-B07C-3B68975DD449}"/>
              </a:ext>
            </a:extLst>
          </p:cNvPr>
          <p:cNvSpPr>
            <a:spLocks noGrp="1"/>
          </p:cNvSpPr>
          <p:nvPr>
            <p:ph idx="14"/>
          </p:nvPr>
        </p:nvSpPr>
        <p:spPr bwMode="gray">
          <a:xfrm>
            <a:off x="6239817" y="2132856"/>
            <a:ext cx="5184775" cy="3959226"/>
          </a:xfrm>
        </p:spPr>
        <p:txBody>
          <a:bodyPr/>
          <a:lstStyle/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012C2629-ECAE-4771-B97C-C8C52C60D7B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0220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 userDrawn="1">
          <p15:clr>
            <a:srgbClr val="5ACBF0"/>
          </p15:clr>
        </p15:guide>
        <p15:guide id="2" orient="horz" pos="3838" userDrawn="1">
          <p15:clr>
            <a:srgbClr val="5ACBF0"/>
          </p15:clr>
        </p15:guide>
        <p15:guide id="3" pos="7197" userDrawn="1">
          <p15:clr>
            <a:srgbClr val="5ACBF0"/>
          </p15:clr>
        </p15:guide>
        <p15:guide id="4" pos="483" userDrawn="1">
          <p15:clr>
            <a:srgbClr val="5ACBF0"/>
          </p15:clr>
        </p15:guide>
        <p15:guide id="5" pos="3749" userDrawn="1">
          <p15:clr>
            <a:srgbClr val="5ACBF0"/>
          </p15:clr>
        </p15:guide>
        <p15:guide id="6" pos="3931" userDrawn="1">
          <p15:clr>
            <a:srgbClr val="5ACBF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+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DF379BB-6F1E-48A1-82A2-A4C682BB95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90" y="1624013"/>
            <a:ext cx="10514012" cy="41449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366220743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357328756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öp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2FC641E1-B8E3-413B-904A-2440DD1ED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810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2E1FDC18-783E-41B0-A0D2-168EE16F3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178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9B581941-4DFC-434A-86AA-4C1552688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24643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DB581137-3902-47A4-B44D-30D80149B4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26215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A208E58-4EC9-4B06-A80F-E2943394BD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27787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19039486-E685-4E1E-90DD-040C8A5525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0602" y="4942047"/>
            <a:ext cx="3036047" cy="956736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AE1C2790-44C2-4FE8-ABB1-D94E61B6F7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7979" y="4943791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56DAC46A-A81D-4BF6-853B-46D6CBA80C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470" y="4942047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9A11213-6B94-4070-B425-F3D4934CE78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42856" y="2647953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45B65062-1C74-4975-AB11-DD0AD47E1D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423504" y="2647953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4" name="Bildplatzhalter 6">
            <a:extLst>
              <a:ext uri="{FF2B5EF4-FFF2-40B4-BE49-F238E27FC236}">
                <a16:creationId xmlns:a16="http://schemas.microsoft.com/office/drawing/2014/main" id="{B8892F41-2115-496D-8249-7B6E9DA4EB7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45996" y="2647953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395804933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3A081B37-E57B-48A2-AC9E-4C379D3B89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692" y="2494279"/>
            <a:ext cx="1044000" cy="1044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297B832-0F11-4184-8F58-81CF859E33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42643" y="1363879"/>
            <a:ext cx="1044000" cy="1044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58F55ED-DB6A-479A-B682-3AB85F09F6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74063" y="2494279"/>
            <a:ext cx="1044000" cy="1044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38F46AA-D2E1-4A9E-A65E-BF6590DA664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97867" y="1363879"/>
            <a:ext cx="1044000" cy="1044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EFAFAC9-23DC-43C2-9ADB-F76F4CE706E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23275" y="4940401"/>
            <a:ext cx="1044000" cy="1044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F36B00A-61CE-4138-B78D-643C3EE90EA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39297" y="3809901"/>
            <a:ext cx="1044000" cy="1044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6F6A55E-7A12-4A71-BB5D-BF0E01662F43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745033" y="4940401"/>
            <a:ext cx="1044000" cy="1044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CFACE34-BF9F-4E6D-9561-D540D2CF7D3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741439" y="3809901"/>
            <a:ext cx="1044000" cy="1044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413FF27-BA52-4273-A50A-F4100BB7D01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8285" y="2494279"/>
            <a:ext cx="1044000" cy="1044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3E35579-64AF-4682-AC8C-8FE30B29E3C7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09600" y="1363879"/>
            <a:ext cx="1044000" cy="1044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BAF70398-B919-4639-9C97-1ED35EDC7B8F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4896520" y="2494279"/>
            <a:ext cx="1044000" cy="1044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B424053-AFD7-4E94-BDBE-483630C81136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896520" y="1363879"/>
            <a:ext cx="1044000" cy="1044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03F1A61-6359-4273-B302-E846FF9B6314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107331" y="2494279"/>
            <a:ext cx="1044000" cy="1044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244A3B7D-14F6-4273-9FA2-ABD4F1E05843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8081504" y="1363879"/>
            <a:ext cx="1044000" cy="1044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22A49A86-9DE1-432A-9A12-E5E664D46A62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712464" y="2494279"/>
            <a:ext cx="1044000" cy="1044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B3ED136C-AFF3-4DE4-B377-1E83FC24B590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741439" y="1363879"/>
            <a:ext cx="1044000" cy="1044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5C6AD4FD-9D36-4DF8-A9BC-E107A62A8260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886881" y="4940401"/>
            <a:ext cx="1044000" cy="1044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9573D5A-5CE8-4ABA-8B10-DFC508FC9C30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811067" y="3809901"/>
            <a:ext cx="1044000" cy="1044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22D77ED-D0EC-480B-8F58-275A5C25D6DB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828451" y="2494279"/>
            <a:ext cx="1044000" cy="10440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6489A5EA-9CCC-4A15-A410-B2026DF0F238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3823547" y="1363879"/>
            <a:ext cx="1044000" cy="10440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DAA6DEA-6635-4248-AF8E-D44D50D7F16B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930881" y="4940401"/>
            <a:ext cx="1044000" cy="1044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AD1B1F4-9400-4057-84EE-557904E5B1A1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4879275" y="3809901"/>
            <a:ext cx="1044000" cy="10440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52C8BE19-2849-4FD4-A169-E1063DB50417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671811" y="3809901"/>
            <a:ext cx="1044000" cy="104400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4AA2F212-9470-496A-87E2-55B8A58EF4FA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678516" y="4940401"/>
            <a:ext cx="1044000" cy="104400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52F79728-FF7D-4B50-9478-536B0CB38F10}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609600" y="3809901"/>
            <a:ext cx="1044000" cy="10440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86CC9833-B63D-4885-89AF-0999C90FF18E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609600" y="4940401"/>
            <a:ext cx="1044000" cy="104400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35E9ECD9-E10E-4CBA-BF52-4670D794D592}"/>
              </a:ext>
            </a:extLst>
          </p:cNvPr>
          <p:cNvPicPr>
            <a:picLocks noChangeAspect="1"/>
          </p:cNvPicPr>
          <p:nvPr userDrawn="1"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8120863" y="3809901"/>
            <a:ext cx="1044000" cy="1044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AE32466E-9C49-47B3-AFAC-9704D0A86BEA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8174448" y="4940401"/>
            <a:ext cx="1044000" cy="1044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D1F1DB1D-D9AE-4D6B-8727-B6E25271C409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9230063" y="4940301"/>
            <a:ext cx="1044000" cy="1044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6FA8DC32-CC3B-41D8-BD42-0BD97DA6806F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9207329" y="3809901"/>
            <a:ext cx="1044000" cy="1044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9E30971E-6883-445B-883D-0CA8B2DA11F8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7024584" y="4940401"/>
            <a:ext cx="1044000" cy="10440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D621922B-D161-4786-8E9A-219FB2CC39E6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7030880" y="3809901"/>
            <a:ext cx="1044000" cy="10440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E0DDB2FD-F90D-41D7-B681-54C600089E09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1668464" y="2494279"/>
            <a:ext cx="1044000" cy="10440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844CBE15-A36E-4639-872B-E2DD409D85E5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674513" y="1363879"/>
            <a:ext cx="1044000" cy="10440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12808483-DB95-4D93-A059-578112FE1EA6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7024584" y="1363879"/>
            <a:ext cx="1044000" cy="1044000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4F20F2D2-CEF1-4AF3-91EF-17308C8D6DE9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3"/>
              </a:ext>
            </a:extLst>
          </a:blip>
          <a:stretch>
            <a:fillRect/>
          </a:stretch>
        </p:blipFill>
        <p:spPr>
          <a:xfrm>
            <a:off x="7002491" y="2494279"/>
            <a:ext cx="1044000" cy="1044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79B1C5B4-72F4-4F4C-89A5-843A94CB6958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5"/>
              </a:ext>
            </a:extLst>
          </a:blip>
          <a:stretch>
            <a:fillRect/>
          </a:stretch>
        </p:blipFill>
        <p:spPr>
          <a:xfrm>
            <a:off x="5963445" y="1363879"/>
            <a:ext cx="1044000" cy="104400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F6C36229-30EB-405E-8BC0-F70774E67A6A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5923275" y="2494279"/>
            <a:ext cx="1044000" cy="10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5678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870502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7" y="2165353"/>
            <a:ext cx="10512407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2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406536275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395" y="1273923"/>
            <a:ext cx="10512407" cy="4888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2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171015859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7" y="2165353"/>
            <a:ext cx="5148245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7AE868-13D3-4D28-A8E4-F635F770F6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7441" y="2168525"/>
            <a:ext cx="5184775" cy="36004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2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373231459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4" y="2165353"/>
            <a:ext cx="6480000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BADABE6-3453-400C-A405-40E92F11ED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16195" y="2165352"/>
            <a:ext cx="3636000" cy="3603625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2" y="6361180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107758222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E80C4A-E133-4D33-A918-188A03B20D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8AF9B4-D53B-48CC-B719-350DF8315F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178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r>
              <a:rPr lang="de-DE"/>
              <a:t>TechTeam – IDSA Deck</a:t>
            </a:r>
          </a:p>
        </p:txBody>
      </p:sp>
    </p:spTree>
    <p:extLst>
      <p:ext uri="{BB962C8B-B14F-4D97-AF65-F5344CB8AC3E}">
        <p14:creationId xmlns:p14="http://schemas.microsoft.com/office/powerpoint/2010/main" val="38249507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oleObject" Target="../embeddings/oleObject11.bin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ags" Target="../tags/tag56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110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image" Target="../media/image94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image" Target="../media/image12.png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theme" Target="../theme/theme11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image" Target="../media/image94.emf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oleObject" Target="../embeddings/oleObject13.bin"/><Relationship Id="rId2" Type="http://schemas.openxmlformats.org/officeDocument/2006/relationships/slideLayout" Target="../slideLayouts/slideLayout133.xml"/><Relationship Id="rId16" Type="http://schemas.openxmlformats.org/officeDocument/2006/relationships/tags" Target="../tags/tag65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41.xml"/><Relationship Id="rId19" Type="http://schemas.openxmlformats.org/officeDocument/2006/relationships/image" Target="../media/image12.png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slideLayout" Target="../slideLayouts/slideLayout148.xml"/><Relationship Id="rId7" Type="http://schemas.openxmlformats.org/officeDocument/2006/relationships/theme" Target="../theme/theme13.xml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image" Target="../media/image101.png"/><Relationship Id="rId5" Type="http://schemas.openxmlformats.org/officeDocument/2006/relationships/slideLayout" Target="../slideLayouts/slideLayout150.xml"/><Relationship Id="rId10" Type="http://schemas.openxmlformats.org/officeDocument/2006/relationships/image" Target="../media/image94.emf"/><Relationship Id="rId4" Type="http://schemas.openxmlformats.org/officeDocument/2006/relationships/slideLayout" Target="../slideLayouts/slideLayout149.xml"/><Relationship Id="rId9" Type="http://schemas.openxmlformats.org/officeDocument/2006/relationships/oleObject" Target="../embeddings/oleObject16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tags" Target="../tags/tag81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53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5" Type="http://schemas.openxmlformats.org/officeDocument/2006/relationships/image" Target="../media/image94.emf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oleObject" Target="../embeddings/oleObject17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94.emf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oleObject" Target="../embeddings/oleObject2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oleObject" Target="../embeddings/oleObject7.bin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tags" Target="../tags/tag40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89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image" Target="../media/image94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tags" Target="../tags/tag41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6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image" Target="../media/image94.emf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FCE0DF8-821F-4C30-892B-307669EE6CF1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766763" y="2133599"/>
            <a:ext cx="10658475" cy="39592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  <a:p>
            <a:pPr lvl="5"/>
            <a:r>
              <a:rPr lang="en-GB" err="1"/>
              <a:t>Sechs</a:t>
            </a:r>
            <a:endParaRPr lang="en-GB"/>
          </a:p>
          <a:p>
            <a:pPr lvl="6"/>
            <a:r>
              <a:rPr lang="en-GB"/>
              <a:t>Sieben</a:t>
            </a:r>
          </a:p>
          <a:p>
            <a:pPr lvl="7"/>
            <a:r>
              <a:rPr lang="en-GB" err="1"/>
              <a:t>Acht</a:t>
            </a:r>
            <a:endParaRPr lang="en-GB"/>
          </a:p>
          <a:p>
            <a:pPr lvl="8"/>
            <a:r>
              <a:rPr lang="en-GB" err="1"/>
              <a:t>Neun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6C3840-DFAA-4153-A3DF-F2C9EDA63E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766762" y="6381328"/>
            <a:ext cx="6553014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i="1">
                <a:solidFill>
                  <a:schemeClr val="tx2"/>
                </a:solidFill>
                <a:latin typeface="Georgia" panose="02040502050405020303" pitchFamily="18" charset="0"/>
              </a:defRPr>
            </a:lvl1pPr>
          </a:lstStyle>
          <a:p>
            <a:r>
              <a:rPr lang="en-GB"/>
              <a:t>Title of present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39AF998-D1FE-439C-B6E2-79EA2D874E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776520" y="6381328"/>
            <a:ext cx="648072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i="1">
                <a:solidFill>
                  <a:schemeClr val="tx2"/>
                </a:solidFill>
                <a:latin typeface="Georgia" panose="02040502050405020303" pitchFamily="18" charset="0"/>
              </a:defRPr>
            </a:lvl1pPr>
          </a:lstStyle>
          <a:p>
            <a:fld id="{8D75F291-B186-437B-9BD4-204251E78F3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3B0CB32-D26C-4139-AC97-E615E3B183C5}"/>
              </a:ext>
            </a:extLst>
          </p:cNvPr>
          <p:cNvSpPr/>
          <p:nvPr userDrawn="1"/>
        </p:nvSpPr>
        <p:spPr bwMode="gray">
          <a:xfrm>
            <a:off x="767408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1DC9A3A-ED32-4D4A-8D19-82540736128D}"/>
              </a:ext>
            </a:extLst>
          </p:cNvPr>
          <p:cNvSpPr/>
          <p:nvPr userDrawn="1"/>
        </p:nvSpPr>
        <p:spPr bwMode="gray">
          <a:xfrm>
            <a:off x="2134960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4806E07-6018-4E57-B4F4-8AC531367F2F}"/>
              </a:ext>
            </a:extLst>
          </p:cNvPr>
          <p:cNvSpPr/>
          <p:nvPr userDrawn="1"/>
        </p:nvSpPr>
        <p:spPr bwMode="gray">
          <a:xfrm>
            <a:off x="3503232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5DE8584-6E72-4669-AAC3-55D6D4CF1F80}"/>
              </a:ext>
            </a:extLst>
          </p:cNvPr>
          <p:cNvSpPr/>
          <p:nvPr userDrawn="1"/>
        </p:nvSpPr>
        <p:spPr bwMode="gray">
          <a:xfrm>
            <a:off x="4871504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6246B53A-62D7-4048-A306-E08508CA9F04}"/>
              </a:ext>
            </a:extLst>
          </p:cNvPr>
          <p:cNvSpPr/>
          <p:nvPr userDrawn="1"/>
        </p:nvSpPr>
        <p:spPr bwMode="gray">
          <a:xfrm>
            <a:off x="6239776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B0281E8-DEEF-4F7C-BC61-93198CAAFD38}"/>
              </a:ext>
            </a:extLst>
          </p:cNvPr>
          <p:cNvSpPr/>
          <p:nvPr userDrawn="1"/>
        </p:nvSpPr>
        <p:spPr bwMode="gray">
          <a:xfrm>
            <a:off x="7608048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AB5255D-CE7A-424C-86F5-B3506F3CF776}"/>
              </a:ext>
            </a:extLst>
          </p:cNvPr>
          <p:cNvSpPr/>
          <p:nvPr userDrawn="1"/>
        </p:nvSpPr>
        <p:spPr bwMode="gray">
          <a:xfrm>
            <a:off x="8976320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A0C3F2F-BD2D-471F-A7EC-96B76086BCC2}"/>
              </a:ext>
            </a:extLst>
          </p:cNvPr>
          <p:cNvSpPr/>
          <p:nvPr userDrawn="1"/>
        </p:nvSpPr>
        <p:spPr bwMode="gray">
          <a:xfrm>
            <a:off x="10344592" y="-171400"/>
            <a:ext cx="1080000" cy="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3366713-9D75-410E-8FEC-A3C9DEDF5C7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766763" y="260752"/>
            <a:ext cx="7921625" cy="936000"/>
          </a:xfrm>
          <a:prstGeom prst="rect">
            <a:avLst/>
          </a:prstGeom>
        </p:spPr>
        <p:txBody>
          <a:bodyPr vert="horz" lIns="0" tIns="0" rIns="0" bIns="54000" rtlCol="0" anchor="b">
            <a:normAutofit/>
          </a:bodyPr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31B033B9-7AD3-419A-AC77-478506CCBB45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 bwMode="gray">
          <a:xfrm>
            <a:off x="9840592" y="788974"/>
            <a:ext cx="1584000" cy="46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590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49" r:id="rId2"/>
    <p:sldLayoutId id="2147483669" r:id="rId3"/>
    <p:sldLayoutId id="2147483657" r:id="rId4"/>
    <p:sldLayoutId id="2147483670" r:id="rId5"/>
    <p:sldLayoutId id="2147483651" r:id="rId6"/>
    <p:sldLayoutId id="2147483650" r:id="rId7"/>
    <p:sldLayoutId id="2147483663" r:id="rId8"/>
    <p:sldLayoutId id="2147483658" r:id="rId9"/>
    <p:sldLayoutId id="2147483659" r:id="rId10"/>
    <p:sldLayoutId id="2147483661" r:id="rId11"/>
    <p:sldLayoutId id="2147483662" r:id="rId12"/>
    <p:sldLayoutId id="2147483665" r:id="rId13"/>
    <p:sldLayoutId id="2147483654" r:id="rId14"/>
    <p:sldLayoutId id="2147483660" r:id="rId15"/>
    <p:sldLayoutId id="2147483655" r:id="rId16"/>
    <p:sldLayoutId id="2147483664" r:id="rId17"/>
    <p:sldLayoutId id="2147483666" r:id="rId18"/>
    <p:sldLayoutId id="2147483671" r:id="rId19"/>
    <p:sldLayoutId id="2147483707" r:id="rId2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14400" rtl="0" eaLnBrk="1" latinLnBrk="0" hangingPunct="1">
        <a:lnSpc>
          <a:spcPct val="100000"/>
        </a:lnSpc>
        <a:spcBef>
          <a:spcPts val="500"/>
        </a:spcBef>
        <a:buFont typeface="Segoe UI" panose="020B0502040204020203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252000" algn="l" defTabSz="914400" rtl="0" eaLnBrk="1" latinLnBrk="0" hangingPunct="1">
        <a:lnSpc>
          <a:spcPct val="100000"/>
        </a:lnSpc>
        <a:spcBef>
          <a:spcPts val="500"/>
        </a:spcBef>
        <a:buFont typeface="Segoe UI" panose="020B0502040204020203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914400" rtl="0" eaLnBrk="1" latinLnBrk="0" hangingPunct="1">
        <a:lnSpc>
          <a:spcPct val="100000"/>
        </a:lnSpc>
        <a:spcBef>
          <a:spcPts val="500"/>
        </a:spcBef>
        <a:buFont typeface="Segoe UI" panose="020B0502040204020203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buFont typeface="Segoe UI" panose="020B0502040204020203" pitchFamily="34" charset="0"/>
        <a:buNone/>
        <a:defRPr sz="1800" i="1" kern="1200">
          <a:solidFill>
            <a:schemeClr val="tx2"/>
          </a:solidFill>
          <a:latin typeface="Georgia" panose="02040502050405020303" pitchFamily="18" charset="0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500"/>
        </a:spcBef>
        <a:buFont typeface="Segoe UI" panose="020B0502040204020203" pitchFamily="34" charset="0"/>
        <a:buNone/>
        <a:defRPr sz="1800" i="1" kern="1200">
          <a:solidFill>
            <a:schemeClr val="tx2"/>
          </a:solidFill>
          <a:latin typeface="Georgia" panose="02040502050405020303" pitchFamily="18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500"/>
        </a:spcBef>
        <a:buFont typeface="Segoe UI" panose="020B0502040204020203" pitchFamily="34" charset="0"/>
        <a:buNone/>
        <a:defRPr sz="1800" i="1" kern="1200">
          <a:solidFill>
            <a:schemeClr val="tx2"/>
          </a:solidFill>
          <a:latin typeface="Georgia" panose="02040502050405020303" pitchFamily="18" charset="0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500"/>
        </a:spcBef>
        <a:buFont typeface="Segoe UI" panose="020B0502040204020203" pitchFamily="34" charset="0"/>
        <a:buNone/>
        <a:defRPr sz="1800" i="1" kern="1200">
          <a:solidFill>
            <a:schemeClr val="tx2"/>
          </a:solidFill>
          <a:latin typeface="Georgia" panose="02040502050405020303" pitchFamily="18" charset="0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500"/>
        </a:spcBef>
        <a:buFont typeface="Segoe UI" panose="020B0502040204020203" pitchFamily="34" charset="0"/>
        <a:buNone/>
        <a:defRPr sz="1800" i="1" kern="1200">
          <a:solidFill>
            <a:schemeClr val="tx2"/>
          </a:solidFill>
          <a:latin typeface="Georgia" panose="02040502050405020303" pitchFamily="18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5695B05-467C-42FE-B5DE-21C160CABC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41203773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416" imgH="423" progId="TCLayout.ActiveDocument.1">
                  <p:embed/>
                </p:oleObj>
              </mc:Choice>
              <mc:Fallback>
                <p:oleObj name="think-cell Folie" r:id="rId13" imgW="416" imgH="4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5695B05-467C-42FE-B5DE-21C160CABC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7589301-05C3-4394-92CB-8EE8A977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8100000" cy="72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90D-CCF0-474D-BF54-F257976B86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168528"/>
            <a:ext cx="10515600" cy="36043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145E23-BF16-4BFF-8A5C-484E2A987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4" y="6361540"/>
            <a:ext cx="71778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r>
              <a:rPr lang="de-DE"/>
              <a:t>TechTeam – IDSA Deck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94EF75-B28C-4544-8AA7-90967A382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Picture 11" descr="Text, logo&#10;&#10;Description automatically generated">
            <a:extLst>
              <a:ext uri="{FF2B5EF4-FFF2-40B4-BE49-F238E27FC236}">
                <a16:creationId xmlns:a16="http://schemas.microsoft.com/office/drawing/2014/main" id="{5AA84D1B-D814-47D2-A2C9-232BFE6E36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2643" y="332225"/>
            <a:ext cx="2072148" cy="620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697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6" r:id="rId1"/>
    <p:sldLayoutId id="2147484027" r:id="rId2"/>
    <p:sldLayoutId id="2147484028" r:id="rId3"/>
    <p:sldLayoutId id="2147484029" r:id="rId4"/>
    <p:sldLayoutId id="2147484030" r:id="rId5"/>
    <p:sldLayoutId id="2147484031" r:id="rId6"/>
    <p:sldLayoutId id="2147484032" r:id="rId7"/>
    <p:sldLayoutId id="2147484033" r:id="rId8"/>
    <p:sldLayoutId id="2147484034" r:id="rId9"/>
    <p:sldLayoutId id="2147484035" r:id="rId10"/>
  </p:sldLayoutIdLst>
  <p:hf hdr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3657">
          <p15:clr>
            <a:srgbClr val="F26B43"/>
          </p15:clr>
        </p15:guide>
        <p15:guide id="6" orient="horz" pos="731">
          <p15:clr>
            <a:srgbClr val="F26B43"/>
          </p15:clr>
        </p15:guide>
        <p15:guide id="7" pos="3885">
          <p15:clr>
            <a:srgbClr val="F26B43"/>
          </p15:clr>
        </p15:guide>
        <p15:guide id="8" pos="377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7589301-05C3-4394-92CB-8EE8A977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8100000" cy="72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90D-CCF0-474D-BF54-F257976B86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168526"/>
            <a:ext cx="10515600" cy="36043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145E23-BF16-4BFF-8A5C-484E2A987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1" y="6361539"/>
            <a:ext cx="71778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pPr defTabSz="914377">
              <a:defRPr/>
            </a:pP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94EF75-B28C-4544-8AA7-90967A382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pPr defTabSz="914377">
              <a:defRPr/>
            </a:pPr>
            <a:fld id="{FB95B963-CBD6-47C4-B7CF-F60C897EE538}" type="slidenum">
              <a:rPr lang="de-DE" smtClean="0"/>
              <a:pPr defTabSz="914377">
                <a:defRPr/>
              </a:pPr>
              <a:t>‹#›</a:t>
            </a:fld>
            <a:endParaRPr lang="de-DE"/>
          </a:p>
        </p:txBody>
      </p:sp>
      <p:pic>
        <p:nvPicPr>
          <p:cNvPr id="7" name="Picture 11" descr="Text, logo&#10;&#10;Description automatically generated">
            <a:extLst>
              <a:ext uri="{FF2B5EF4-FFF2-40B4-BE49-F238E27FC236}">
                <a16:creationId xmlns:a16="http://schemas.microsoft.com/office/drawing/2014/main" id="{5AA84D1B-D814-47D2-A2C9-232BFE6E36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2641" y="332225"/>
            <a:ext cx="2072148" cy="620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480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  <p:sldLayoutId id="2147484042" r:id="rId5"/>
    <p:sldLayoutId id="2147484043" r:id="rId6"/>
    <p:sldLayoutId id="2147484044" r:id="rId7"/>
    <p:sldLayoutId id="2147484045" r:id="rId8"/>
    <p:sldLayoutId id="2147484046" r:id="rId9"/>
    <p:sldLayoutId id="2147484047" r:id="rId10"/>
    <p:sldLayoutId id="2147484048" r:id="rId11"/>
    <p:sldLayoutId id="2147484049" r:id="rId12"/>
    <p:sldLayoutId id="2147484050" r:id="rId13"/>
    <p:sldLayoutId id="2147484051" r:id="rId14"/>
    <p:sldLayoutId id="2147484052" r:id="rId15"/>
    <p:sldLayoutId id="2147484053" r:id="rId16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3657">
          <p15:clr>
            <a:srgbClr val="F26B43"/>
          </p15:clr>
        </p15:guide>
        <p15:guide id="6" orient="horz" pos="731">
          <p15:clr>
            <a:srgbClr val="F26B43"/>
          </p15:clr>
        </p15:guide>
        <p15:guide id="7" pos="3885">
          <p15:clr>
            <a:srgbClr val="F26B43"/>
          </p15:clr>
        </p15:guide>
        <p15:guide id="8" pos="377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5695B05-467C-42FE-B5DE-21C160CABC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7239951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416" imgH="423" progId="TCLayout.ActiveDocument.1">
                  <p:embed/>
                </p:oleObj>
              </mc:Choice>
              <mc:Fallback>
                <p:oleObj name="think-cell Folie" r:id="rId17" imgW="416" imgH="4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5695B05-467C-42FE-B5DE-21C160CABC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7589301-05C3-4394-92CB-8EE8A977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8100000" cy="72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90D-CCF0-474D-BF54-F257976B86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168526"/>
            <a:ext cx="10515600" cy="36043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145E23-BF16-4BFF-8A5C-484E2A987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1" y="6361539"/>
            <a:ext cx="71778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r>
              <a:rPr lang="de-DE"/>
              <a:t>TechTeam – IDSA Deck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94EF75-B28C-4544-8AA7-90967A382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8" name="Picture 11" descr="Text, logo&#10;&#10;Description automatically generated">
            <a:extLst>
              <a:ext uri="{FF2B5EF4-FFF2-40B4-BE49-F238E27FC236}">
                <a16:creationId xmlns:a16="http://schemas.microsoft.com/office/drawing/2014/main" id="{249AD6DB-9813-403A-ABC8-1682E26A6C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2641" y="332225"/>
            <a:ext cx="2072148" cy="620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562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9" r:id="rId1"/>
    <p:sldLayoutId id="2147484080" r:id="rId2"/>
    <p:sldLayoutId id="2147484081" r:id="rId3"/>
    <p:sldLayoutId id="2147484082" r:id="rId4"/>
    <p:sldLayoutId id="2147484083" r:id="rId5"/>
    <p:sldLayoutId id="2147484084" r:id="rId6"/>
    <p:sldLayoutId id="2147484085" r:id="rId7"/>
    <p:sldLayoutId id="2147484086" r:id="rId8"/>
    <p:sldLayoutId id="2147484087" r:id="rId9"/>
    <p:sldLayoutId id="2147484088" r:id="rId10"/>
    <p:sldLayoutId id="2147484089" r:id="rId11"/>
    <p:sldLayoutId id="2147484090" r:id="rId12"/>
    <p:sldLayoutId id="2147484091" r:id="rId13"/>
    <p:sldLayoutId id="2147484092" r:id="rId14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3657">
          <p15:clr>
            <a:srgbClr val="F26B43"/>
          </p15:clr>
        </p15:guide>
        <p15:guide id="6" orient="horz" pos="731">
          <p15:clr>
            <a:srgbClr val="F26B43"/>
          </p15:clr>
        </p15:guide>
        <p15:guide id="7" pos="3885">
          <p15:clr>
            <a:srgbClr val="F26B43"/>
          </p15:clr>
        </p15:guide>
        <p15:guide id="8" pos="3772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C183B9B-129B-4AAB-AB20-16EA1DD902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9657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416" imgH="423" progId="TCLayout.ActiveDocument.1">
                  <p:embed/>
                </p:oleObj>
              </mc:Choice>
              <mc:Fallback>
                <p:oleObj name="think-cell Folie" r:id="rId9" imgW="416" imgH="4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C183B9B-129B-4AAB-AB20-16EA1DD90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A193E536-4A06-4D89-B9C0-DC7517F5E8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6098" y="0"/>
            <a:ext cx="3165231" cy="6858000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7589301-05C3-4394-92CB-8EE8A977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6840000" cy="72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90D-CCF0-474D-BF54-F257976B86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168524"/>
            <a:ext cx="9720000" cy="36043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145E23-BF16-4BFF-8A5C-484E2A987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61538"/>
            <a:ext cx="71778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r>
              <a:rPr lang="de-DE"/>
              <a:t>TechTeam – IDSA Deck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94EF75-B28C-4544-8AA7-90967A382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5890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Picture 11" descr="Text, logo&#10;&#10;Description automatically generated">
            <a:extLst>
              <a:ext uri="{FF2B5EF4-FFF2-40B4-BE49-F238E27FC236}">
                <a16:creationId xmlns:a16="http://schemas.microsoft.com/office/drawing/2014/main" id="{5AA84D1B-D814-47D2-A2C9-232BFE6E36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00000" y="332226"/>
            <a:ext cx="2072148" cy="620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478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4" r:id="rId1"/>
    <p:sldLayoutId id="2147484145" r:id="rId2"/>
    <p:sldLayoutId id="2147484146" r:id="rId3"/>
    <p:sldLayoutId id="2147484147" r:id="rId4"/>
    <p:sldLayoutId id="2147484148" r:id="rId5"/>
    <p:sldLayoutId id="2147484149" r:id="rId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3657">
          <p15:clr>
            <a:srgbClr val="F26B43"/>
          </p15:clr>
        </p15:guide>
        <p15:guide id="6" orient="horz" pos="731">
          <p15:clr>
            <a:srgbClr val="F26B43"/>
          </p15:clr>
        </p15:guide>
        <p15:guide id="7" pos="3885">
          <p15:clr>
            <a:srgbClr val="F26B43"/>
          </p15:clr>
        </p15:guide>
        <p15:guide id="8" pos="3772">
          <p15:clr>
            <a:srgbClr val="F26B43"/>
          </p15:clr>
        </p15:guide>
        <p15:guide id="9" pos="6425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5695B05-467C-42FE-B5DE-21C160CABC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8977512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16" imgH="423" progId="TCLayout.ActiveDocument.1">
                  <p:embed/>
                </p:oleObj>
              </mc:Choice>
              <mc:Fallback>
                <p:oleObj name="think-cell Folie" r:id="rId14" imgW="416" imgH="4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5695B05-467C-42FE-B5DE-21C160CABC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7589301-05C3-4394-92CB-8EE8A977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8100000" cy="72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90D-CCF0-474D-BF54-F257976B86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168526"/>
            <a:ext cx="10515600" cy="36043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145E23-BF16-4BFF-8A5C-484E2A987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1" y="6361539"/>
            <a:ext cx="71778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r>
              <a:rPr lang="de-DE"/>
              <a:t>TechTeam – IDSA Deck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94EF75-B28C-4544-8AA7-90967A382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8" name="Picture 11" descr="Text, logo&#10;&#10;Description automatically generated">
            <a:extLst>
              <a:ext uri="{FF2B5EF4-FFF2-40B4-BE49-F238E27FC236}">
                <a16:creationId xmlns:a16="http://schemas.microsoft.com/office/drawing/2014/main" id="{249AD6DB-9813-403A-ABC8-1682E26A6C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2641" y="332225"/>
            <a:ext cx="2072148" cy="620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299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4" r:id="rId1"/>
    <p:sldLayoutId id="2147484155" r:id="rId2"/>
    <p:sldLayoutId id="2147484156" r:id="rId3"/>
    <p:sldLayoutId id="2147484157" r:id="rId4"/>
    <p:sldLayoutId id="2147484158" r:id="rId5"/>
    <p:sldLayoutId id="2147484159" r:id="rId6"/>
    <p:sldLayoutId id="2147484160" r:id="rId7"/>
    <p:sldLayoutId id="2147484161" r:id="rId8"/>
    <p:sldLayoutId id="2147484162" r:id="rId9"/>
    <p:sldLayoutId id="2147484163" r:id="rId10"/>
    <p:sldLayoutId id="2147484164" r:id="rId11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3657">
          <p15:clr>
            <a:srgbClr val="F26B43"/>
          </p15:clr>
        </p15:guide>
        <p15:guide id="6" orient="horz" pos="731">
          <p15:clr>
            <a:srgbClr val="F26B43"/>
          </p15:clr>
        </p15:guide>
        <p15:guide id="7" pos="3885">
          <p15:clr>
            <a:srgbClr val="F26B43"/>
          </p15:clr>
        </p15:guide>
        <p15:guide id="8" pos="377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7589301-05C3-4394-92CB-8EE8A977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8100000" cy="72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90D-CCF0-474D-BF54-F257976B86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168524"/>
            <a:ext cx="10515600" cy="36043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145E23-BF16-4BFF-8A5C-484E2A987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61538"/>
            <a:ext cx="71778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94EF75-B28C-4544-8AA7-90967A382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Picture 11" descr="Text, logo&#10;&#10;Description automatically generated">
            <a:extLst>
              <a:ext uri="{FF2B5EF4-FFF2-40B4-BE49-F238E27FC236}">
                <a16:creationId xmlns:a16="http://schemas.microsoft.com/office/drawing/2014/main" id="{5AA84D1B-D814-47D2-A2C9-232BFE6E36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2640" y="332226"/>
            <a:ext cx="2072148" cy="620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905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3657">
          <p15:clr>
            <a:srgbClr val="F26B43"/>
          </p15:clr>
        </p15:guide>
        <p15:guide id="6" orient="horz" pos="731">
          <p15:clr>
            <a:srgbClr val="F26B43"/>
          </p15:clr>
        </p15:guide>
        <p15:guide id="7" pos="3885">
          <p15:clr>
            <a:srgbClr val="F26B43"/>
          </p15:clr>
        </p15:guide>
        <p15:guide id="8" pos="377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riehoek 6"/>
          <p:cNvSpPr/>
          <p:nvPr userDrawn="1"/>
        </p:nvSpPr>
        <p:spPr>
          <a:xfrm rot="5400000">
            <a:off x="-32087" y="896087"/>
            <a:ext cx="465267" cy="401092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nl-NL" sz="2400"/>
          </a:p>
        </p:txBody>
      </p:sp>
    </p:spTree>
    <p:extLst>
      <p:ext uri="{BB962C8B-B14F-4D97-AF65-F5344CB8AC3E}">
        <p14:creationId xmlns:p14="http://schemas.microsoft.com/office/powerpoint/2010/main" val="808965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7589301-05C3-4394-92CB-8EE8A977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8100000" cy="72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90D-CCF0-474D-BF54-F257976B86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168524"/>
            <a:ext cx="10515600" cy="36043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145E23-BF16-4BFF-8A5C-484E2A987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61538"/>
            <a:ext cx="71778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94EF75-B28C-4544-8AA7-90967A382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7" name="Picture 11" descr="Text, logo&#10;&#10;Description automatically generated">
            <a:extLst>
              <a:ext uri="{FF2B5EF4-FFF2-40B4-BE49-F238E27FC236}">
                <a16:creationId xmlns:a16="http://schemas.microsoft.com/office/drawing/2014/main" id="{5AA84D1B-D814-47D2-A2C9-232BFE6E36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2640" y="332226"/>
            <a:ext cx="2072148" cy="620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211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3657">
          <p15:clr>
            <a:srgbClr val="F26B43"/>
          </p15:clr>
        </p15:guide>
        <p15:guide id="6" orient="horz" pos="731">
          <p15:clr>
            <a:srgbClr val="F26B43"/>
          </p15:clr>
        </p15:guide>
        <p15:guide id="7" pos="3885">
          <p15:clr>
            <a:srgbClr val="F26B43"/>
          </p15:clr>
        </p15:guide>
        <p15:guide id="8" pos="377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5695B05-467C-42FE-B5DE-21C160CABC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3325862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16" imgH="423" progId="TCLayout.ActiveDocument.1">
                  <p:embed/>
                </p:oleObj>
              </mc:Choice>
              <mc:Fallback>
                <p:oleObj name="think-cell Folie" r:id="rId14" imgW="416" imgH="4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5695B05-467C-42FE-B5DE-21C160CABC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7589301-05C3-4394-92CB-8EE8A977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8100000" cy="72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90D-CCF0-474D-BF54-F257976B86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168526"/>
            <a:ext cx="10515600" cy="36043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145E23-BF16-4BFF-8A5C-484E2A987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1" y="6361539"/>
            <a:ext cx="71778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r>
              <a:rPr lang="de-DE"/>
              <a:t>TechTeam – IDSA Deck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94EF75-B28C-4544-8AA7-90967A382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8" name="Picture 11" descr="Text, logo&#10;&#10;Description automatically generated">
            <a:extLst>
              <a:ext uri="{FF2B5EF4-FFF2-40B4-BE49-F238E27FC236}">
                <a16:creationId xmlns:a16="http://schemas.microsoft.com/office/drawing/2014/main" id="{249AD6DB-9813-403A-ABC8-1682E26A6C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2641" y="332225"/>
            <a:ext cx="2072148" cy="620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886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3657">
          <p15:clr>
            <a:srgbClr val="F26B43"/>
          </p15:clr>
        </p15:guide>
        <p15:guide id="6" orient="horz" pos="731">
          <p15:clr>
            <a:srgbClr val="F26B43"/>
          </p15:clr>
        </p15:guide>
        <p15:guide id="7" pos="3885">
          <p15:clr>
            <a:srgbClr val="F26B43"/>
          </p15:clr>
        </p15:guide>
        <p15:guide id="8" pos="377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7589301-05C3-4394-92CB-8EE8A977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8100000" cy="72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90D-CCF0-474D-BF54-F257976B86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168526"/>
            <a:ext cx="10515600" cy="36043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145E23-BF16-4BFF-8A5C-484E2A987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1" y="6361539"/>
            <a:ext cx="71778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94EF75-B28C-4544-8AA7-90967A382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Picture 11" descr="Text, logo&#10;&#10;Description automatically generated">
            <a:extLst>
              <a:ext uri="{FF2B5EF4-FFF2-40B4-BE49-F238E27FC236}">
                <a16:creationId xmlns:a16="http://schemas.microsoft.com/office/drawing/2014/main" id="{5AA84D1B-D814-47D2-A2C9-232BFE6E36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2641" y="332225"/>
            <a:ext cx="2072148" cy="620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097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8" r:id="rId8"/>
    <p:sldLayoutId id="2147483969" r:id="rId9"/>
    <p:sldLayoutId id="2147483970" r:id="rId10"/>
    <p:sldLayoutId id="2147483971" r:id="rId11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3657">
          <p15:clr>
            <a:srgbClr val="F26B43"/>
          </p15:clr>
        </p15:guide>
        <p15:guide id="6" orient="horz" pos="731">
          <p15:clr>
            <a:srgbClr val="F26B43"/>
          </p15:clr>
        </p15:guide>
        <p15:guide id="7" pos="3885">
          <p15:clr>
            <a:srgbClr val="F26B43"/>
          </p15:clr>
        </p15:guide>
        <p15:guide id="8" pos="377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7589301-05C3-4394-92CB-8EE8A977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8100000" cy="72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90D-CCF0-474D-BF54-F257976B86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168524"/>
            <a:ext cx="10515600" cy="36043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145E23-BF16-4BFF-8A5C-484E2A987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61538"/>
            <a:ext cx="71778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94EF75-B28C-4544-8AA7-90967A382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7" name="Picture 11" descr="Text, logo&#10;&#10;Description automatically generated">
            <a:extLst>
              <a:ext uri="{FF2B5EF4-FFF2-40B4-BE49-F238E27FC236}">
                <a16:creationId xmlns:a16="http://schemas.microsoft.com/office/drawing/2014/main" id="{5AA84D1B-D814-47D2-A2C9-232BFE6E36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2640" y="332226"/>
            <a:ext cx="2072148" cy="620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985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  <p:sldLayoutId id="2147483984" r:id="rId12"/>
    <p:sldLayoutId id="2147483985" r:id="rId13"/>
    <p:sldLayoutId id="2147483987" r:id="rId1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3657">
          <p15:clr>
            <a:srgbClr val="F26B43"/>
          </p15:clr>
        </p15:guide>
        <p15:guide id="6" orient="horz" pos="731">
          <p15:clr>
            <a:srgbClr val="F26B43"/>
          </p15:clr>
        </p15:guide>
        <p15:guide id="7" pos="3885">
          <p15:clr>
            <a:srgbClr val="F26B43"/>
          </p15:clr>
        </p15:guide>
        <p15:guide id="8" pos="377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5695B05-467C-42FE-B5DE-21C160CABC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0604124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416" imgH="423" progId="TCLayout.ActiveDocument.1">
                  <p:embed/>
                </p:oleObj>
              </mc:Choice>
              <mc:Fallback>
                <p:oleObj name="think-cell Folie" r:id="rId13" imgW="416" imgH="4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5695B05-467C-42FE-B5DE-21C160CABC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7589301-05C3-4394-92CB-8EE8A977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8100000" cy="72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90D-CCF0-474D-BF54-F257976B86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168527"/>
            <a:ext cx="10515600" cy="36043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145E23-BF16-4BFF-8A5C-484E2A987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2" y="6361540"/>
            <a:ext cx="71778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r>
              <a:rPr lang="de-DE"/>
              <a:t>TechTeam – IDSA Deck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94EF75-B28C-4544-8AA7-90967A382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Picture 11" descr="Text, logo&#10;&#10;Description automatically generated">
            <a:extLst>
              <a:ext uri="{FF2B5EF4-FFF2-40B4-BE49-F238E27FC236}">
                <a16:creationId xmlns:a16="http://schemas.microsoft.com/office/drawing/2014/main" id="{5AA84D1B-D814-47D2-A2C9-232BFE6E36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2642" y="332225"/>
            <a:ext cx="2072148" cy="620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640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  <p:sldLayoutId id="2147483999" r:id="rId9"/>
    <p:sldLayoutId id="2147484000" r:id="rId10"/>
  </p:sldLayoutIdLst>
  <p:hf hdr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3657">
          <p15:clr>
            <a:srgbClr val="F26B43"/>
          </p15:clr>
        </p15:guide>
        <p15:guide id="6" orient="horz" pos="731">
          <p15:clr>
            <a:srgbClr val="F26B43"/>
          </p15:clr>
        </p15:guide>
        <p15:guide id="7" pos="3885">
          <p15:clr>
            <a:srgbClr val="F26B43"/>
          </p15:clr>
        </p15:guide>
        <p15:guide id="8" pos="377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5695B05-467C-42FE-B5DE-21C160CABC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2366559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16" imgH="423" progId="TCLayout.ActiveDocument.1">
                  <p:embed/>
                </p:oleObj>
              </mc:Choice>
              <mc:Fallback>
                <p:oleObj name="think-cell Folie" r:id="rId14" imgW="416" imgH="4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5695B05-467C-42FE-B5DE-21C160CABC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7589301-05C3-4394-92CB-8EE8A977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8100000" cy="72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90D-CCF0-474D-BF54-F257976B86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168527"/>
            <a:ext cx="10515600" cy="36043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145E23-BF16-4BFF-8A5C-484E2A987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2" y="6361540"/>
            <a:ext cx="71778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r>
              <a:rPr lang="de-DE"/>
              <a:t>TechTeam – IDSA Deck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94EF75-B28C-4544-8AA7-90967A382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fld id="{FB95B963-CBD6-47C4-B7CF-F60C897EE53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8" name="Picture 11" descr="Text, logo&#10;&#10;Description automatically generated">
            <a:extLst>
              <a:ext uri="{FF2B5EF4-FFF2-40B4-BE49-F238E27FC236}">
                <a16:creationId xmlns:a16="http://schemas.microsoft.com/office/drawing/2014/main" id="{249AD6DB-9813-403A-ABC8-1682E26A6C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2642" y="332225"/>
            <a:ext cx="2072148" cy="620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928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3" r:id="rId1"/>
    <p:sldLayoutId id="2147484004" r:id="rId2"/>
    <p:sldLayoutId id="2147484005" r:id="rId3"/>
    <p:sldLayoutId id="2147484006" r:id="rId4"/>
    <p:sldLayoutId id="2147484007" r:id="rId5"/>
    <p:sldLayoutId id="2147484008" r:id="rId6"/>
    <p:sldLayoutId id="2147484009" r:id="rId7"/>
    <p:sldLayoutId id="2147484010" r:id="rId8"/>
    <p:sldLayoutId id="2147484011" r:id="rId9"/>
    <p:sldLayoutId id="2147484012" r:id="rId10"/>
    <p:sldLayoutId id="2147484013" r:id="rId11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3657">
          <p15:clr>
            <a:srgbClr val="F26B43"/>
          </p15:clr>
        </p15:guide>
        <p15:guide id="6" orient="horz" pos="731">
          <p15:clr>
            <a:srgbClr val="F26B43"/>
          </p15:clr>
        </p15:guide>
        <p15:guide id="7" pos="3885">
          <p15:clr>
            <a:srgbClr val="F26B43"/>
          </p15:clr>
        </p15:guide>
        <p15:guide id="8" pos="37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08.xml"/><Relationship Id="rId18" Type="http://schemas.openxmlformats.org/officeDocument/2006/relationships/tags" Target="../tags/tag113.xml"/><Relationship Id="rId26" Type="http://schemas.openxmlformats.org/officeDocument/2006/relationships/tags" Target="../tags/tag121.xml"/><Relationship Id="rId21" Type="http://schemas.openxmlformats.org/officeDocument/2006/relationships/tags" Target="../tags/tag116.xml"/><Relationship Id="rId34" Type="http://schemas.openxmlformats.org/officeDocument/2006/relationships/notesSlide" Target="../notesSlides/notesSlide1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tags" Target="../tags/tag112.xml"/><Relationship Id="rId25" Type="http://schemas.openxmlformats.org/officeDocument/2006/relationships/tags" Target="../tags/tag120.xml"/><Relationship Id="rId33" Type="http://schemas.openxmlformats.org/officeDocument/2006/relationships/slideLayout" Target="../slideLayouts/slideLayout20.xml"/><Relationship Id="rId2" Type="http://schemas.openxmlformats.org/officeDocument/2006/relationships/tags" Target="../tags/tag97.xml"/><Relationship Id="rId16" Type="http://schemas.openxmlformats.org/officeDocument/2006/relationships/tags" Target="../tags/tag111.xml"/><Relationship Id="rId20" Type="http://schemas.openxmlformats.org/officeDocument/2006/relationships/tags" Target="../tags/tag115.xml"/><Relationship Id="rId29" Type="http://schemas.openxmlformats.org/officeDocument/2006/relationships/tags" Target="../tags/tag124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24" Type="http://schemas.openxmlformats.org/officeDocument/2006/relationships/tags" Target="../tags/tag119.xml"/><Relationship Id="rId32" Type="http://schemas.openxmlformats.org/officeDocument/2006/relationships/tags" Target="../tags/tag127.xml"/><Relationship Id="rId37" Type="http://schemas.openxmlformats.org/officeDocument/2006/relationships/image" Target="../media/image105.png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23" Type="http://schemas.openxmlformats.org/officeDocument/2006/relationships/tags" Target="../tags/tag118.xml"/><Relationship Id="rId28" Type="http://schemas.openxmlformats.org/officeDocument/2006/relationships/tags" Target="../tags/tag123.xml"/><Relationship Id="rId36" Type="http://schemas.openxmlformats.org/officeDocument/2006/relationships/image" Target="../media/image104.png"/><Relationship Id="rId10" Type="http://schemas.openxmlformats.org/officeDocument/2006/relationships/tags" Target="../tags/tag105.xml"/><Relationship Id="rId19" Type="http://schemas.openxmlformats.org/officeDocument/2006/relationships/tags" Target="../tags/tag114.xml"/><Relationship Id="rId31" Type="http://schemas.openxmlformats.org/officeDocument/2006/relationships/tags" Target="../tags/tag126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Relationship Id="rId22" Type="http://schemas.openxmlformats.org/officeDocument/2006/relationships/tags" Target="../tags/tag117.xml"/><Relationship Id="rId27" Type="http://schemas.openxmlformats.org/officeDocument/2006/relationships/tags" Target="../tags/tag122.xml"/><Relationship Id="rId30" Type="http://schemas.openxmlformats.org/officeDocument/2006/relationships/tags" Target="../tags/tag125.xml"/><Relationship Id="rId35" Type="http://schemas.openxmlformats.org/officeDocument/2006/relationships/image" Target="../media/image103.png"/><Relationship Id="rId8" Type="http://schemas.openxmlformats.org/officeDocument/2006/relationships/tags" Target="../tags/tag103.xml"/><Relationship Id="rId3" Type="http://schemas.openxmlformats.org/officeDocument/2006/relationships/tags" Target="../tags/tag9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5F7D8A3-DBE6-4D6F-A567-38E7D6B03E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7" y="1100303"/>
            <a:ext cx="8687671" cy="468000"/>
          </a:xfrm>
        </p:spPr>
        <p:txBody>
          <a:bodyPr>
            <a:normAutofit fontScale="77500" lnSpcReduction="20000"/>
          </a:bodyPr>
          <a:lstStyle/>
          <a:p>
            <a:r>
              <a:rPr lang="en-US"/>
              <a:t>Closing the loop to achieve consistency and compliance for a reliable and trustworthy data economy</a:t>
            </a:r>
          </a:p>
        </p:txBody>
      </p:sp>
      <p:sp>
        <p:nvSpPr>
          <p:cNvPr id="27" name="Titel 4">
            <a:extLst>
              <a:ext uri="{FF2B5EF4-FFF2-40B4-BE49-F238E27FC236}">
                <a16:creationId xmlns:a16="http://schemas.microsoft.com/office/drawing/2014/main" id="{A8614E00-C63A-411F-B514-1D0318957C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65125"/>
            <a:ext cx="10519511" cy="72000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dirty="0"/>
              <a:t>Why do we need an association like IDSA?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75200EA-1695-477E-ADE3-DBD843F8F4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DSA Core Assets</a:t>
            </a:r>
          </a:p>
        </p:txBody>
      </p:sp>
      <p:sp>
        <p:nvSpPr>
          <p:cNvPr id="9" name="Rectangle 86">
            <a:extLst>
              <a:ext uri="{FF2B5EF4-FFF2-40B4-BE49-F238E27FC236}">
                <a16:creationId xmlns:a16="http://schemas.microsoft.com/office/drawing/2014/main" id="{3B1EFFAC-E17A-4FB5-BFB5-E7254388213F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4374038" y="1805479"/>
            <a:ext cx="7692274" cy="4336701"/>
          </a:xfrm>
          <a:prstGeom prst="rect">
            <a:avLst/>
          </a:prstGeom>
          <a:pattFill prst="ltDnDiag">
            <a:fgClr>
              <a:sysClr val="window" lastClr="FFFFFF">
                <a:lumMod val="75000"/>
              </a:sysClr>
            </a:fgClr>
            <a:bgClr>
              <a:sysClr val="window" lastClr="FFFFFF"/>
            </a:bgClr>
          </a:pattFill>
          <a:ln w="3175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>
              <a:ln>
                <a:noFill/>
              </a:ln>
              <a:solidFill>
                <a:srgbClr val="009FE3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Rectangle 87">
            <a:extLst>
              <a:ext uri="{FF2B5EF4-FFF2-40B4-BE49-F238E27FC236}">
                <a16:creationId xmlns:a16="http://schemas.microsoft.com/office/drawing/2014/main" id="{5F8BD07C-44C3-433E-A76D-E5AF9DD9D3D4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4374037" y="1907157"/>
            <a:ext cx="7598007" cy="4235023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0BA2E3"/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1" name="Ellipse 15">
            <a:extLst>
              <a:ext uri="{FF2B5EF4-FFF2-40B4-BE49-F238E27FC236}">
                <a16:creationId xmlns:a16="http://schemas.microsoft.com/office/drawing/2014/main" id="{E7C5EB56-54BD-49A3-B294-450D4DB988AA}"/>
              </a:ext>
            </a:extLst>
          </p:cNvPr>
          <p:cNvSpPr/>
          <p:nvPr/>
        </p:nvSpPr>
        <p:spPr>
          <a:xfrm>
            <a:off x="5405076" y="2873087"/>
            <a:ext cx="3082411" cy="3082411"/>
          </a:xfrm>
          <a:prstGeom prst="ellipse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>
              <a:ln>
                <a:noFill/>
              </a:ln>
              <a:solidFill>
                <a:srgbClr val="3DA434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151D15A-10CD-40DE-BC78-1D47C4D3C311}"/>
              </a:ext>
            </a:extLst>
          </p:cNvPr>
          <p:cNvGrpSpPr/>
          <p:nvPr>
            <p:custDataLst>
              <p:tags r:id="rId3"/>
            </p:custDataLst>
          </p:nvPr>
        </p:nvGrpSpPr>
        <p:grpSpPr bwMode="gray">
          <a:xfrm>
            <a:off x="5047437" y="4728446"/>
            <a:ext cx="473201" cy="473201"/>
            <a:chOff x="1883528" y="2132844"/>
            <a:chExt cx="1224000" cy="1224000"/>
          </a:xfrm>
          <a:solidFill>
            <a:srgbClr val="263482"/>
          </a:solidFill>
        </p:grpSpPr>
        <p:sp>
          <p:nvSpPr>
            <p:cNvPr id="13" name="Ellipse 20">
              <a:extLst>
                <a:ext uri="{FF2B5EF4-FFF2-40B4-BE49-F238E27FC236}">
                  <a16:creationId xmlns:a16="http://schemas.microsoft.com/office/drawing/2014/main" id="{CD961C32-1C1A-4F7D-991D-65FA401314C9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 bwMode="gray">
            <a:xfrm>
              <a:off x="1883528" y="2132844"/>
              <a:ext cx="1224000" cy="1224000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>
                  <a:ln>
                    <a:noFill/>
                  </a:ln>
                  <a:solidFill>
                    <a:srgbClr val="009FE3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1</a:t>
              </a:r>
            </a:p>
          </p:txBody>
        </p:sp>
        <p:sp>
          <p:nvSpPr>
            <p:cNvPr id="14" name="Ellipse 20">
              <a:extLst>
                <a:ext uri="{FF2B5EF4-FFF2-40B4-BE49-F238E27FC236}">
                  <a16:creationId xmlns:a16="http://schemas.microsoft.com/office/drawing/2014/main" id="{089B194B-16DD-4989-A120-BD66C4889914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1937464" y="2186780"/>
              <a:ext cx="1116128" cy="1116128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34F1A6BB-7585-4046-8166-856652607E9C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7834260" y="4661587"/>
            <a:ext cx="2203377" cy="54006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000" tIns="72000" rIns="72000" bIns="72000" rtlCol="0" anchor="ctr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>
                <a:ln>
                  <a:noFill/>
                </a:ln>
                <a:solidFill>
                  <a:srgbClr val="E5007D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ertification Schem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2B3AC14-3EF8-4C9B-8D19-13F11DCBDCDF}"/>
              </a:ext>
            </a:extLst>
          </p:cNvPr>
          <p:cNvGrpSpPr/>
          <p:nvPr>
            <p:custDataLst>
              <p:tags r:id="rId5"/>
            </p:custDataLst>
          </p:nvPr>
        </p:nvGrpSpPr>
        <p:grpSpPr bwMode="gray">
          <a:xfrm>
            <a:off x="8279639" y="4707594"/>
            <a:ext cx="473201" cy="473201"/>
            <a:chOff x="1883528" y="2132844"/>
            <a:chExt cx="1224000" cy="1224000"/>
          </a:xfrm>
          <a:solidFill>
            <a:srgbClr val="E5007D"/>
          </a:solidFill>
        </p:grpSpPr>
        <p:sp>
          <p:nvSpPr>
            <p:cNvPr id="17" name="Ellipse 20">
              <a:extLst>
                <a:ext uri="{FF2B5EF4-FFF2-40B4-BE49-F238E27FC236}">
                  <a16:creationId xmlns:a16="http://schemas.microsoft.com/office/drawing/2014/main" id="{01DD53CE-196E-4E18-AF25-36023BAAE84B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 bwMode="gray">
            <a:xfrm>
              <a:off x="1883528" y="2132844"/>
              <a:ext cx="1224000" cy="1224000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>
                  <a:ln>
                    <a:noFill/>
                  </a:ln>
                  <a:solidFill>
                    <a:srgbClr val="009FE3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1</a:t>
              </a:r>
            </a:p>
          </p:txBody>
        </p:sp>
        <p:sp>
          <p:nvSpPr>
            <p:cNvPr id="18" name="Ellipse 20">
              <a:extLst>
                <a:ext uri="{FF2B5EF4-FFF2-40B4-BE49-F238E27FC236}">
                  <a16:creationId xmlns:a16="http://schemas.microsoft.com/office/drawing/2014/main" id="{753C4128-93ED-47F1-95B2-33C6C6C2C304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 bwMode="gray">
            <a:xfrm>
              <a:off x="1937464" y="2186780"/>
              <a:ext cx="1116128" cy="1116128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F67A063A-129A-4AFC-ACC7-5725FE7D2DAC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4605652" y="1988156"/>
            <a:ext cx="2557827" cy="54006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000" tIns="72000" rIns="72000" bIns="72000" rtlCol="0" anchor="ctr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>
                <a:ln>
                  <a:noFill/>
                </a:ln>
                <a:solidFill>
                  <a:srgbClr val="3DA43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DS Reference Architecture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D9DFDFE-5902-4B92-94F5-7B2C0FBF1DFF}"/>
              </a:ext>
            </a:extLst>
          </p:cNvPr>
          <p:cNvGrpSpPr/>
          <p:nvPr>
            <p:custDataLst>
              <p:tags r:id="rId7"/>
            </p:custDataLst>
          </p:nvPr>
        </p:nvGrpSpPr>
        <p:grpSpPr bwMode="gray">
          <a:xfrm>
            <a:off x="6609302" y="2636487"/>
            <a:ext cx="473201" cy="473201"/>
            <a:chOff x="1883528" y="2132844"/>
            <a:chExt cx="1224000" cy="1224000"/>
          </a:xfrm>
          <a:solidFill>
            <a:srgbClr val="3DA434"/>
          </a:solidFill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9A7FB713-BA5A-4964-87E4-308BDBD5A64D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 bwMode="gray">
            <a:xfrm>
              <a:off x="1883528" y="2132844"/>
              <a:ext cx="1224000" cy="1224000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>
                  <a:ln>
                    <a:noFill/>
                  </a:ln>
                  <a:solidFill>
                    <a:srgbClr val="009FE3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1</a:t>
              </a:r>
            </a:p>
          </p:txBody>
        </p:sp>
        <p:sp>
          <p:nvSpPr>
            <p:cNvPr id="22" name="Ellipse 20">
              <a:extLst>
                <a:ext uri="{FF2B5EF4-FFF2-40B4-BE49-F238E27FC236}">
                  <a16:creationId xmlns:a16="http://schemas.microsoft.com/office/drawing/2014/main" id="{D991FE5A-4540-4727-8070-150EBF8AD67B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1937464" y="2186780"/>
              <a:ext cx="1116128" cy="1116128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ED0AD4CF-0004-4A05-BD02-E3E25665B85B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gray">
          <a:xfrm flipV="1">
            <a:off x="5520638" y="3220086"/>
            <a:ext cx="1088664" cy="1394705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45">
            <a:extLst>
              <a:ext uri="{FF2B5EF4-FFF2-40B4-BE49-F238E27FC236}">
                <a16:creationId xmlns:a16="http://schemas.microsoft.com/office/drawing/2014/main" id="{EAEDE016-429F-4DC7-947C-868EA5515AC7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 flipH="1" flipV="1">
            <a:off x="7079129" y="3221715"/>
            <a:ext cx="1087558" cy="1393076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45">
            <a:extLst>
              <a:ext uri="{FF2B5EF4-FFF2-40B4-BE49-F238E27FC236}">
                <a16:creationId xmlns:a16="http://schemas.microsoft.com/office/drawing/2014/main" id="{F7E5F9C6-E985-4339-937F-6CAD9E10C5C0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gray">
          <a:xfrm flipH="1">
            <a:off x="5677601" y="5005592"/>
            <a:ext cx="2454137" cy="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Rectangle 47">
            <a:extLst>
              <a:ext uri="{FF2B5EF4-FFF2-40B4-BE49-F238E27FC236}">
                <a16:creationId xmlns:a16="http://schemas.microsoft.com/office/drawing/2014/main" id="{0577EADA-06BB-45F3-82A6-BE162695C6EF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5676108" y="4029242"/>
            <a:ext cx="1908092" cy="720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21600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>
                <a:ln>
                  <a:noFill/>
                </a:ln>
                <a:solidFill>
                  <a:srgbClr val="0BA2E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UST</a:t>
            </a:r>
          </a:p>
        </p:txBody>
      </p:sp>
      <p:sp>
        <p:nvSpPr>
          <p:cNvPr id="28" name="Rectangle 32">
            <a:extLst>
              <a:ext uri="{FF2B5EF4-FFF2-40B4-BE49-F238E27FC236}">
                <a16:creationId xmlns:a16="http://schemas.microsoft.com/office/drawing/2014/main" id="{9D225A5F-8DCD-4BD3-B8A3-6224DFA94D1D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6530096" y="3248875"/>
            <a:ext cx="2203377" cy="54006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000" tIns="72000" rIns="72000" bIns="72000" rtlCol="0" anchor="ctr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>
                <a:ln>
                  <a:noFill/>
                </a:ln>
                <a:solidFill>
                  <a:srgbClr val="CD1316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DSA Rulebook</a:t>
            </a:r>
          </a:p>
        </p:txBody>
      </p:sp>
      <p:sp>
        <p:nvSpPr>
          <p:cNvPr id="29" name="Rectangle 32">
            <a:extLst>
              <a:ext uri="{FF2B5EF4-FFF2-40B4-BE49-F238E27FC236}">
                <a16:creationId xmlns:a16="http://schemas.microsoft.com/office/drawing/2014/main" id="{CC607BFE-57DA-4B6A-9AE8-93F019DBF431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6318134" y="2016945"/>
            <a:ext cx="3006313" cy="54006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lueprint for data spaces with detailed specifications</a:t>
            </a:r>
          </a:p>
        </p:txBody>
      </p:sp>
      <p:sp>
        <p:nvSpPr>
          <p:cNvPr id="30" name="Rectangle 32">
            <a:extLst>
              <a:ext uri="{FF2B5EF4-FFF2-40B4-BE49-F238E27FC236}">
                <a16:creationId xmlns:a16="http://schemas.microsoft.com/office/drawing/2014/main" id="{1660F33F-BAE0-4224-91DF-E2BC2859A3A1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9064669" y="5007290"/>
            <a:ext cx="2826453" cy="54006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</a:t>
            </a:r>
            <a:r>
              <a:rPr kumimoji="0" lang="en-US" sz="1200" b="0" i="0" u="none" strike="noStrike" kern="1200" cap="none" spc="0" normalizeH="0" baseline="3000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d</a:t>
            </a:r>
            <a:r>
              <a:rPr kumimoji="0" lang="en-US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party conformity allows for an informed decision about the trustworthiness of partners and components in a data space</a:t>
            </a:r>
          </a:p>
        </p:txBody>
      </p:sp>
      <p:grpSp>
        <p:nvGrpSpPr>
          <p:cNvPr id="31" name="Gruppieren 40">
            <a:extLst>
              <a:ext uri="{FF2B5EF4-FFF2-40B4-BE49-F238E27FC236}">
                <a16:creationId xmlns:a16="http://schemas.microsoft.com/office/drawing/2014/main" id="{CA6E1837-0099-4168-AD91-8199E757186E}"/>
              </a:ext>
            </a:extLst>
          </p:cNvPr>
          <p:cNvGrpSpPr>
            <a:grpSpLocks noChangeAspect="1"/>
          </p:cNvGrpSpPr>
          <p:nvPr/>
        </p:nvGrpSpPr>
        <p:grpSpPr>
          <a:xfrm>
            <a:off x="6394215" y="2493547"/>
            <a:ext cx="900001" cy="900001"/>
            <a:chOff x="917600" y="5052875"/>
            <a:chExt cx="1440000" cy="1440000"/>
          </a:xfrm>
        </p:grpSpPr>
        <p:grpSp>
          <p:nvGrpSpPr>
            <p:cNvPr id="32" name="Group 65">
              <a:extLst>
                <a:ext uri="{FF2B5EF4-FFF2-40B4-BE49-F238E27FC236}">
                  <a16:creationId xmlns:a16="http://schemas.microsoft.com/office/drawing/2014/main" id="{C0EB225E-DA21-40DA-BEFE-C85B3223C9E6}"/>
                </a:ext>
              </a:extLst>
            </p:cNvPr>
            <p:cNvGrpSpPr/>
            <p:nvPr>
              <p:custDataLst>
                <p:tags r:id="rId24"/>
              </p:custDataLst>
            </p:nvPr>
          </p:nvGrpSpPr>
          <p:grpSpPr bwMode="gray">
            <a:xfrm>
              <a:off x="917600" y="5052875"/>
              <a:ext cx="1440000" cy="1440000"/>
              <a:chOff x="803412" y="2132856"/>
              <a:chExt cx="1440000" cy="1440000"/>
            </a:xfrm>
            <a:solidFill>
              <a:schemeClr val="bg1"/>
            </a:solidFill>
          </p:grpSpPr>
          <p:sp>
            <p:nvSpPr>
              <p:cNvPr id="34" name="Oval 66">
                <a:extLst>
                  <a:ext uri="{FF2B5EF4-FFF2-40B4-BE49-F238E27FC236}">
                    <a16:creationId xmlns:a16="http://schemas.microsoft.com/office/drawing/2014/main" id="{E66D56C1-64A2-4437-88F6-B27E45E566FD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 bwMode="gray">
              <a:xfrm>
                <a:off x="803412" y="2132856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108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1200" cap="none" spc="0" normalizeH="0" baseline="0">
                  <a:ln>
                    <a:noFill/>
                  </a:ln>
                  <a:solidFill>
                    <a:srgbClr val="0BA1E2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35" name="Oval 67">
                <a:extLst>
                  <a:ext uri="{FF2B5EF4-FFF2-40B4-BE49-F238E27FC236}">
                    <a16:creationId xmlns:a16="http://schemas.microsoft.com/office/drawing/2014/main" id="{3DEA8F2E-265C-428D-9ACB-ACE4A5123EF1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 bwMode="gray">
              <a:xfrm>
                <a:off x="839256" y="2168860"/>
                <a:ext cx="1368000" cy="1368000"/>
              </a:xfrm>
              <a:prstGeom prst="ellipse">
                <a:avLst/>
              </a:prstGeom>
              <a:grpFill/>
              <a:ln w="19050">
                <a:solidFill>
                  <a:srgbClr val="0BA1E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>
                  <a:ln>
                    <a:noFill/>
                  </a:ln>
                  <a:solidFill>
                    <a:srgbClr val="0BA1E2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33" name="Picture 3" descr="Text&#10;&#10;Description automatically generated with medium confidence">
              <a:extLst>
                <a:ext uri="{FF2B5EF4-FFF2-40B4-BE49-F238E27FC236}">
                  <a16:creationId xmlns:a16="http://schemas.microsoft.com/office/drawing/2014/main" id="{DC6BF84A-B882-4D1E-A3F4-478C6D12A3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0445" y="5348629"/>
              <a:ext cx="958819" cy="866526"/>
            </a:xfrm>
            <a:prstGeom prst="rect">
              <a:avLst/>
            </a:prstGeom>
          </p:spPr>
        </p:pic>
      </p:grpSp>
      <p:grpSp>
        <p:nvGrpSpPr>
          <p:cNvPr id="36" name="Gruppieren 46">
            <a:extLst>
              <a:ext uri="{FF2B5EF4-FFF2-40B4-BE49-F238E27FC236}">
                <a16:creationId xmlns:a16="http://schemas.microsoft.com/office/drawing/2014/main" id="{3CD63B36-49C4-4FB7-8953-3588EF418549}"/>
              </a:ext>
            </a:extLst>
          </p:cNvPr>
          <p:cNvGrpSpPr>
            <a:grpSpLocks noChangeAspect="1"/>
          </p:cNvGrpSpPr>
          <p:nvPr/>
        </p:nvGrpSpPr>
        <p:grpSpPr>
          <a:xfrm>
            <a:off x="4922737" y="4389270"/>
            <a:ext cx="900000" cy="900000"/>
            <a:chOff x="4500000" y="5052875"/>
            <a:chExt cx="1440000" cy="1440000"/>
          </a:xfrm>
        </p:grpSpPr>
        <p:grpSp>
          <p:nvGrpSpPr>
            <p:cNvPr id="37" name="Group 68">
              <a:extLst>
                <a:ext uri="{FF2B5EF4-FFF2-40B4-BE49-F238E27FC236}">
                  <a16:creationId xmlns:a16="http://schemas.microsoft.com/office/drawing/2014/main" id="{BD3F33CD-4ED0-4F40-8F7E-3BE7C8722123}"/>
                </a:ext>
              </a:extLst>
            </p:cNvPr>
            <p:cNvGrpSpPr/>
            <p:nvPr>
              <p:custDataLst>
                <p:tags r:id="rId21"/>
              </p:custDataLst>
            </p:nvPr>
          </p:nvGrpSpPr>
          <p:grpSpPr bwMode="gray">
            <a:xfrm>
              <a:off x="4500000" y="5052875"/>
              <a:ext cx="1440000" cy="1440000"/>
              <a:chOff x="803412" y="2132856"/>
              <a:chExt cx="1440000" cy="1440000"/>
            </a:xfrm>
            <a:solidFill>
              <a:schemeClr val="bg1"/>
            </a:solidFill>
          </p:grpSpPr>
          <p:sp>
            <p:nvSpPr>
              <p:cNvPr id="39" name="Oval 69">
                <a:extLst>
                  <a:ext uri="{FF2B5EF4-FFF2-40B4-BE49-F238E27FC236}">
                    <a16:creationId xmlns:a16="http://schemas.microsoft.com/office/drawing/2014/main" id="{1E9CCD05-B021-466E-864F-F6CC70DE213B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 bwMode="gray">
              <a:xfrm>
                <a:off x="803412" y="2132856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108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1200" cap="none" spc="0" normalizeH="0" baseline="0">
                  <a:ln>
                    <a:noFill/>
                  </a:ln>
                  <a:solidFill>
                    <a:srgbClr val="0BA1E2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40" name="Oval 70">
                <a:extLst>
                  <a:ext uri="{FF2B5EF4-FFF2-40B4-BE49-F238E27FC236}">
                    <a16:creationId xmlns:a16="http://schemas.microsoft.com/office/drawing/2014/main" id="{9D5C4597-D2E2-4C71-93C2-AA3506744BA9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 bwMode="gray">
              <a:xfrm>
                <a:off x="839256" y="2168860"/>
                <a:ext cx="1368000" cy="1368000"/>
              </a:xfrm>
              <a:prstGeom prst="ellipse">
                <a:avLst/>
              </a:prstGeom>
              <a:grpFill/>
              <a:ln w="19050">
                <a:solidFill>
                  <a:srgbClr val="0BA1E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>
                  <a:ln>
                    <a:noFill/>
                  </a:ln>
                  <a:solidFill>
                    <a:srgbClr val="0BA1E2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38" name="Picture 5" descr="A black and white logo&#10;&#10;Description automatically generated with medium confidence">
              <a:extLst>
                <a:ext uri="{FF2B5EF4-FFF2-40B4-BE49-F238E27FC236}">
                  <a16:creationId xmlns:a16="http://schemas.microsoft.com/office/drawing/2014/main" id="{B6FDFADE-A243-4312-A0F8-CEE27C2183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48008" y="5284447"/>
              <a:ext cx="943984" cy="927519"/>
            </a:xfrm>
            <a:prstGeom prst="rect">
              <a:avLst/>
            </a:prstGeom>
          </p:spPr>
        </p:pic>
      </p:grpSp>
      <p:grpSp>
        <p:nvGrpSpPr>
          <p:cNvPr id="41" name="Gruppieren 51">
            <a:extLst>
              <a:ext uri="{FF2B5EF4-FFF2-40B4-BE49-F238E27FC236}">
                <a16:creationId xmlns:a16="http://schemas.microsoft.com/office/drawing/2014/main" id="{AE9904E8-FAF9-43B1-A4A4-66475A814B49}"/>
              </a:ext>
            </a:extLst>
          </p:cNvPr>
          <p:cNvGrpSpPr>
            <a:grpSpLocks noChangeAspect="1"/>
          </p:cNvGrpSpPr>
          <p:nvPr/>
        </p:nvGrpSpPr>
        <p:grpSpPr>
          <a:xfrm>
            <a:off x="7969610" y="4422196"/>
            <a:ext cx="900000" cy="900000"/>
            <a:chOff x="8082400" y="5052875"/>
            <a:chExt cx="1440000" cy="1440000"/>
          </a:xfrm>
        </p:grpSpPr>
        <p:grpSp>
          <p:nvGrpSpPr>
            <p:cNvPr id="42" name="Group 71">
              <a:extLst>
                <a:ext uri="{FF2B5EF4-FFF2-40B4-BE49-F238E27FC236}">
                  <a16:creationId xmlns:a16="http://schemas.microsoft.com/office/drawing/2014/main" id="{62E18534-D66D-49F4-8A05-78778A58B60E}"/>
                </a:ext>
              </a:extLst>
            </p:cNvPr>
            <p:cNvGrpSpPr/>
            <p:nvPr>
              <p:custDataLst>
                <p:tags r:id="rId18"/>
              </p:custDataLst>
            </p:nvPr>
          </p:nvGrpSpPr>
          <p:grpSpPr bwMode="gray">
            <a:xfrm>
              <a:off x="8082400" y="5052875"/>
              <a:ext cx="1440000" cy="1440000"/>
              <a:chOff x="803412" y="2132856"/>
              <a:chExt cx="1440000" cy="1440000"/>
            </a:xfrm>
            <a:solidFill>
              <a:schemeClr val="bg1"/>
            </a:solidFill>
          </p:grpSpPr>
          <p:sp>
            <p:nvSpPr>
              <p:cNvPr id="44" name="Oval 72">
                <a:extLst>
                  <a:ext uri="{FF2B5EF4-FFF2-40B4-BE49-F238E27FC236}">
                    <a16:creationId xmlns:a16="http://schemas.microsoft.com/office/drawing/2014/main" id="{C64EAFAB-F3EC-4348-8166-8C607C6F897C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 bwMode="gray">
              <a:xfrm>
                <a:off x="803412" y="2132856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108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1200" cap="none" spc="0" normalizeH="0" baseline="0">
                  <a:ln>
                    <a:noFill/>
                  </a:ln>
                  <a:solidFill>
                    <a:srgbClr val="0BA1E2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45" name="Oval 73">
                <a:extLst>
                  <a:ext uri="{FF2B5EF4-FFF2-40B4-BE49-F238E27FC236}">
                    <a16:creationId xmlns:a16="http://schemas.microsoft.com/office/drawing/2014/main" id="{22A9685D-7236-4700-8DC0-2B65917B318F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 bwMode="gray">
              <a:xfrm>
                <a:off x="839256" y="2168860"/>
                <a:ext cx="1368000" cy="1368000"/>
              </a:xfrm>
              <a:prstGeom prst="ellipse">
                <a:avLst/>
              </a:prstGeom>
              <a:grpFill/>
              <a:ln w="19050">
                <a:solidFill>
                  <a:srgbClr val="0BA1E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>
                  <a:ln>
                    <a:noFill/>
                  </a:ln>
                  <a:solidFill>
                    <a:srgbClr val="0BA1E2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43" name="Picture 7" descr="A picture containing icon&#10;&#10;Description automatically generated">
              <a:extLst>
                <a:ext uri="{FF2B5EF4-FFF2-40B4-BE49-F238E27FC236}">
                  <a16:creationId xmlns:a16="http://schemas.microsoft.com/office/drawing/2014/main" id="{F87E70D4-0A09-4CF5-AF2B-C9D04F31D5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50546" y="5283913"/>
              <a:ext cx="901431" cy="953105"/>
            </a:xfrm>
            <a:prstGeom prst="rect">
              <a:avLst/>
            </a:prstGeom>
          </p:spPr>
        </p:pic>
      </p:grpSp>
      <p:sp>
        <p:nvSpPr>
          <p:cNvPr id="46" name="Rectangle 32">
            <a:extLst>
              <a:ext uri="{FF2B5EF4-FFF2-40B4-BE49-F238E27FC236}">
                <a16:creationId xmlns:a16="http://schemas.microsoft.com/office/drawing/2014/main" id="{9884022B-AC20-4D47-A82A-847932ED8ABF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7818331" y="3227594"/>
            <a:ext cx="2593543" cy="54006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000" tIns="72000" rIns="72000" bIns="72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ow to implement IDS in the real world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E5ABF29-0001-42B0-9945-8FE9CED235E2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3450473" y="5291003"/>
            <a:ext cx="2989334" cy="54006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000" tIns="72000" rIns="72000" bIns="72000" rtlCol="0" anchor="ctr" anchorCtr="0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dirty="0">
                <a:ln>
                  <a:noFill/>
                </a:ln>
                <a:solidFill>
                  <a:srgbClr val="263482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ortfolio of </a:t>
            </a:r>
            <a:r>
              <a:rPr lang="en-US" sz="1400" b="1" dirty="0">
                <a:solidFill>
                  <a:srgbClr val="26348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kumimoji="0" lang="en-US" sz="1400" b="1" i="0" u="none" strike="noStrike" kern="1200" cap="none" spc="0" normalizeH="0" baseline="0" dirty="0">
                <a:ln>
                  <a:noFill/>
                </a:ln>
                <a:solidFill>
                  <a:srgbClr val="263482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pen source) building blocks</a:t>
            </a:r>
          </a:p>
        </p:txBody>
      </p:sp>
      <p:sp>
        <p:nvSpPr>
          <p:cNvPr id="48" name="Rectangle 32">
            <a:extLst>
              <a:ext uri="{FF2B5EF4-FFF2-40B4-BE49-F238E27FC236}">
                <a16:creationId xmlns:a16="http://schemas.microsoft.com/office/drawing/2014/main" id="{0075251C-E4B6-4D74-9272-DD6763B25F05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3982557" y="5606132"/>
            <a:ext cx="2597362" cy="54006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000" tIns="72000" rIns="72000" bIns="72000" rtlCol="0" anchor="ctr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ring IDS in commercial set-ups</a:t>
            </a:r>
          </a:p>
        </p:txBody>
      </p:sp>
    </p:spTree>
    <p:extLst>
      <p:ext uri="{BB962C8B-B14F-4D97-AF65-F5344CB8AC3E}">
        <p14:creationId xmlns:p14="http://schemas.microsoft.com/office/powerpoint/2010/main" val="31942593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ENDARROWHEAD" val="222"/>
  <p:tag name="VCTCREATESHAPEHANDLED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ENDARROWHEAD" val="222"/>
  <p:tag name="VCTCREATESHAPEHANDLED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ENDARROWHEAD" val="222"/>
  <p:tag name="VCTCREATESHAPEHANDLED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International Data Spaces">
  <a:themeElements>
    <a:clrScheme name="IDSA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00000"/>
      </a:hlink>
      <a:folHlink>
        <a:srgbClr val="6F6F6E"/>
      </a:folHlink>
    </a:clrScheme>
    <a:fontScheme name="International Data Spaces Associatio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72000" tIns="36000" rIns="72000" bIns="3600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DSA_Master_V02.potx" id="{64D9FD72-55A1-45E7-B451-CC61D909926C}" vid="{EF5A0333-32DF-4899-8A36-D1A6CFF1EA15}"/>
    </a:ext>
  </a:extLst>
</a:theme>
</file>

<file path=ppt/theme/theme10.xml><?xml version="1.0" encoding="utf-8"?>
<a:theme xmlns:a="http://schemas.openxmlformats.org/drawingml/2006/main" name="14_Weiss_1">
  <a:themeElements>
    <a:clrScheme name="TechTeam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BA2E3"/>
      </a:hlink>
      <a:folHlink>
        <a:srgbClr val="26348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21_Weiss_1">
  <a:themeElements>
    <a:clrScheme name="IDSA-Farbraum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BA2E3"/>
      </a:hlink>
      <a:folHlink>
        <a:srgbClr val="26348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5_Weiss_1">
  <a:themeElements>
    <a:clrScheme name="TechTeam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BA2E3"/>
      </a:hlink>
      <a:folHlink>
        <a:srgbClr val="26348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_Weiss_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2_Weiss_1">
  <a:themeElements>
    <a:clrScheme name="TechTeam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BA2E3"/>
      </a:hlink>
      <a:folHlink>
        <a:srgbClr val="26348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">
  <a:themeElements>
    <a:clrScheme name="IDSA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00000"/>
      </a:hlink>
      <a:folHlink>
        <a:srgbClr val="6F6F6E"/>
      </a:folHlink>
    </a:clrScheme>
    <a:fontScheme name="International Data Spaces Associatio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">
  <a:themeElements>
    <a:clrScheme name="IDSA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00000"/>
      </a:hlink>
      <a:folHlink>
        <a:srgbClr val="6F6F6E"/>
      </a:folHlink>
    </a:clrScheme>
    <a:fontScheme name="International Data Spaces Associatio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Weiss_1">
  <a:themeElements>
    <a:clrScheme name="IDSA-Farbraum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BA2E3"/>
      </a:hlink>
      <a:folHlink>
        <a:srgbClr val="26348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text slide">
  <a:themeElements>
    <a:clrScheme name="SCSN themakleuren def">
      <a:dk1>
        <a:srgbClr val="000000"/>
      </a:dk1>
      <a:lt1>
        <a:srgbClr val="FFFFFF"/>
      </a:lt1>
      <a:dk2>
        <a:srgbClr val="244F55"/>
      </a:dk2>
      <a:lt2>
        <a:srgbClr val="E7E6E6"/>
      </a:lt2>
      <a:accent1>
        <a:srgbClr val="429FB6"/>
      </a:accent1>
      <a:accent2>
        <a:srgbClr val="6BB644"/>
      </a:accent2>
      <a:accent3>
        <a:srgbClr val="405066"/>
      </a:accent3>
      <a:accent4>
        <a:srgbClr val="2B4632"/>
      </a:accent4>
      <a:accent5>
        <a:srgbClr val="63889D"/>
      </a:accent5>
      <a:accent6>
        <a:srgbClr val="36535F"/>
      </a:accent6>
      <a:hlink>
        <a:srgbClr val="0563C1"/>
      </a:hlink>
      <a:folHlink>
        <a:srgbClr val="0563C1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CSN ppt sjabloon*" id="{FBE83532-C02C-3B47-B227-54F11893E644}" vid="{2CD4842B-97D5-444D-AEAA-4BC7F3D9089E}"/>
    </a:ext>
  </a:extLst>
</a:theme>
</file>

<file path=ppt/theme/theme4.xml><?xml version="1.0" encoding="utf-8"?>
<a:theme xmlns:a="http://schemas.openxmlformats.org/drawingml/2006/main" name="19_Weiss_1">
  <a:themeElements>
    <a:clrScheme name="IDSA-Farbraum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BA2E3"/>
      </a:hlink>
      <a:folHlink>
        <a:srgbClr val="26348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Weiss_1">
  <a:themeElements>
    <a:clrScheme name="TechTeam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BA2E3"/>
      </a:hlink>
      <a:folHlink>
        <a:srgbClr val="26348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7_Weiss_1">
  <a:themeElements>
    <a:clrScheme name="IDSA-Farbraum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BA2E3"/>
      </a:hlink>
      <a:folHlink>
        <a:srgbClr val="26348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2_Weiss_1">
  <a:themeElements>
    <a:clrScheme name="IDSA-Farbraum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BA2E3"/>
      </a:hlink>
      <a:folHlink>
        <a:srgbClr val="26348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2_Weiss_1">
  <a:themeElements>
    <a:clrScheme name="TechTeam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BA2E3"/>
      </a:hlink>
      <a:folHlink>
        <a:srgbClr val="26348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4_Weiss_1">
  <a:themeElements>
    <a:clrScheme name="TechTeam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BA2E3"/>
      </a:hlink>
      <a:folHlink>
        <a:srgbClr val="26348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590a3b3-10b9-45ba-9c7c-4c08ea8a1e2c">
      <Terms xmlns="http://schemas.microsoft.com/office/infopath/2007/PartnerControls"/>
    </lcf76f155ced4ddcb4097134ff3c332f>
    <TaxCatchAll xmlns="6fa79e7b-49da-4828-8176-6d1866be61d3" xsi:nil="true"/>
    <Finalisiert_x003f_ xmlns="1590a3b3-10b9-45ba-9c7c-4c08ea8a1e2c">false</Finalisiert_x003f_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302DB7C544E3B47A74DB772D89FD2C3" ma:contentTypeVersion="5" ma:contentTypeDescription="Ein neues Dokument erstellen." ma:contentTypeScope="" ma:versionID="37ed02e8e8863e2cc1e925740fd5dd5a">
  <xsd:schema xmlns:xsd="http://www.w3.org/2001/XMLSchema" xmlns:xs="http://www.w3.org/2001/XMLSchema" xmlns:p="http://schemas.microsoft.com/office/2006/metadata/properties" xmlns:ns2="779b3b5a-1254-4b20-af2c-3f72f2ca6181" xmlns:ns3="eda09187-6922-4aef-9242-ab810bc168c4" xmlns:ns4="1590a3b3-10b9-45ba-9c7c-4c08ea8a1e2c" xmlns:ns5="6fa79e7b-49da-4828-8176-6d1866be61d3" targetNamespace="http://schemas.microsoft.com/office/2006/metadata/properties" ma:root="true" ma:fieldsID="05a384d48661d25de83d4a1149135954" ns2:_="" ns3:_="" ns4:_="" ns5:_="">
    <xsd:import namespace="779b3b5a-1254-4b20-af2c-3f72f2ca6181"/>
    <xsd:import namespace="eda09187-6922-4aef-9242-ab810bc168c4"/>
    <xsd:import namespace="1590a3b3-10b9-45ba-9c7c-4c08ea8a1e2c"/>
    <xsd:import namespace="6fa79e7b-49da-4828-8176-6d1866be61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4:lcf76f155ced4ddcb4097134ff3c332f" minOccurs="0"/>
                <xsd:element ref="ns5:TaxCatchAll" minOccurs="0"/>
                <xsd:element ref="ns4:Finalisiert_x003f_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9b3b5a-1254-4b20-af2c-3f72f2ca61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a09187-6922-4aef-9242-ab810bc168c4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90a3b3-10b9-45ba-9c7c-4c08ea8a1e2c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238a5130-dcd2-41f6-9fbf-12228a3317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Finalisiert_x003f_" ma:index="24" ma:displayName="Finalisiert?" ma:default="0" ma:description="Bitte hier auf &quot;Ja&quot; stellen, wenn die Slides den finalisiert sind." ma:format="Dropdown" ma:internalName="Finalisiert_x003f_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a79e7b-49da-4828-8176-6d1866be61d3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13a240b3-e2c0-4d0e-9669-44f13ac1e6b3}" ma:internalName="TaxCatchAll" ma:showField="CatchAllData" ma:web="6fa79e7b-49da-4828-8176-6d1866be61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A0930C6-299F-4249-958B-D07669B1CBE9}">
  <ds:schemaRefs>
    <ds:schemaRef ds:uri="http://purl.org/dc/dcmitype/"/>
    <ds:schemaRef ds:uri="1590a3b3-10b9-45ba-9c7c-4c08ea8a1e2c"/>
    <ds:schemaRef ds:uri="eda09187-6922-4aef-9242-ab810bc168c4"/>
    <ds:schemaRef ds:uri="http://www.w3.org/XML/1998/namespace"/>
    <ds:schemaRef ds:uri="6fa79e7b-49da-4828-8176-6d1866be61d3"/>
    <ds:schemaRef ds:uri="http://schemas.microsoft.com/office/2006/documentManagement/types"/>
    <ds:schemaRef ds:uri="http://schemas.microsoft.com/office/2006/metadata/properties"/>
    <ds:schemaRef ds:uri="779b3b5a-1254-4b20-af2c-3f72f2ca6181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854A39F3-4431-46BB-A438-D49B33F5361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5C2D92A-A2AA-4593-9C5A-5B23653F96F2}">
  <ds:schemaRefs>
    <ds:schemaRef ds:uri="1590a3b3-10b9-45ba-9c7c-4c08ea8a1e2c"/>
    <ds:schemaRef ds:uri="6fa79e7b-49da-4828-8176-6d1866be61d3"/>
    <ds:schemaRef ds:uri="779b3b5a-1254-4b20-af2c-3f72f2ca6181"/>
    <ds:schemaRef ds:uri="eda09187-6922-4aef-9242-ab810bc168c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6</Words>
  <Application>Microsoft Office PowerPoint</Application>
  <PresentationFormat>Widescreen</PresentationFormat>
  <Paragraphs>1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5" baseType="lpstr">
      <vt:lpstr>Arial</vt:lpstr>
      <vt:lpstr>Calibri</vt:lpstr>
      <vt:lpstr>Calibri Light</vt:lpstr>
      <vt:lpstr>Droid Sans</vt:lpstr>
      <vt:lpstr>Georgia</vt:lpstr>
      <vt:lpstr>Segoe UI</vt:lpstr>
      <vt:lpstr>Symbol</vt:lpstr>
      <vt:lpstr>Verdana</vt:lpstr>
      <vt:lpstr>Wingdings</vt:lpstr>
      <vt:lpstr>International Data Spaces</vt:lpstr>
      <vt:lpstr>6_Weiss_1</vt:lpstr>
      <vt:lpstr>2_text slide</vt:lpstr>
      <vt:lpstr>19_Weiss_1</vt:lpstr>
      <vt:lpstr>3_Weiss_1</vt:lpstr>
      <vt:lpstr>7_Weiss_1</vt:lpstr>
      <vt:lpstr>22_Weiss_1</vt:lpstr>
      <vt:lpstr>12_Weiss_1</vt:lpstr>
      <vt:lpstr>4_Weiss_1</vt:lpstr>
      <vt:lpstr>14_Weiss_1</vt:lpstr>
      <vt:lpstr>21_Weiss_1</vt:lpstr>
      <vt:lpstr>15_Weiss_1</vt:lpstr>
      <vt:lpstr>1_Weiss_1</vt:lpstr>
      <vt:lpstr>2_Weiss_1</vt:lpstr>
      <vt:lpstr>think-cell Folie</vt:lpstr>
      <vt:lpstr>Why do we need an association like IDSA?</vt:lpstr>
    </vt:vector>
  </TitlesOfParts>
  <Company>IDS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Vorlage</dc:title>
  <dc:subject>Präsentationen</dc:subject>
  <dc:creator>Christoph Mertens</dc:creator>
  <cp:lastModifiedBy>Sebastian Steinbuss</cp:lastModifiedBy>
  <cp:revision>4</cp:revision>
  <dcterms:created xsi:type="dcterms:W3CDTF">2022-02-08T10:59:33Z</dcterms:created>
  <dcterms:modified xsi:type="dcterms:W3CDTF">2023-02-15T00:2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02DB7C544E3B47A74DB772D89FD2C3</vt:lpwstr>
  </property>
  <property fmtid="{D5CDD505-2E9C-101B-9397-08002B2CF9AE}" pid="3" name="MediaServiceImageTags">
    <vt:lpwstr/>
  </property>
</Properties>
</file>